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11.xml" ContentType="application/vnd.openxmlformats-officedocument.them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notesSlides/notesSlide3.xml" ContentType="application/vnd.openxmlformats-officedocument.presentationml.notesSlide+xml"/>
  <Override PartName="/ppt/media/image65.jpg" ContentType="image/jpg"/>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157.jpg" ContentType="image/jpg"/>
  <Override PartName="/ppt/notesSlides/notesSlide8.xml" ContentType="application/vnd.openxmlformats-officedocument.presentationml.notesSlide+xml"/>
  <Override PartName="/ppt/tags/tag1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3" r:id="rId5"/>
    <p:sldMasterId id="2147483746" r:id="rId6"/>
    <p:sldMasterId id="2147483773" r:id="rId7"/>
    <p:sldMasterId id="2147483845" r:id="rId8"/>
    <p:sldMasterId id="2147483857" r:id="rId9"/>
    <p:sldMasterId id="2147483865" r:id="rId10"/>
    <p:sldMasterId id="2147483874" r:id="rId11"/>
    <p:sldMasterId id="2147483882" r:id="rId12"/>
    <p:sldMasterId id="2147483896" r:id="rId13"/>
    <p:sldMasterId id="2147483911" r:id="rId14"/>
    <p:sldMasterId id="2147483925" r:id="rId15"/>
    <p:sldMasterId id="2147483940" r:id="rId16"/>
  </p:sldMasterIdLst>
  <p:notesMasterIdLst>
    <p:notesMasterId r:id="rId37"/>
  </p:notesMasterIdLst>
  <p:sldIdLst>
    <p:sldId id="2007579881" r:id="rId17"/>
    <p:sldId id="2007579882" r:id="rId18"/>
    <p:sldId id="3799" r:id="rId19"/>
    <p:sldId id="2007579888" r:id="rId20"/>
    <p:sldId id="2007579884" r:id="rId21"/>
    <p:sldId id="3708" r:id="rId22"/>
    <p:sldId id="3756" r:id="rId23"/>
    <p:sldId id="3800" r:id="rId24"/>
    <p:sldId id="3758" r:id="rId25"/>
    <p:sldId id="2007579885" r:id="rId26"/>
    <p:sldId id="570" r:id="rId27"/>
    <p:sldId id="2007579886" r:id="rId28"/>
    <p:sldId id="2007579889" r:id="rId29"/>
    <p:sldId id="2007579890" r:id="rId30"/>
    <p:sldId id="6870" r:id="rId31"/>
    <p:sldId id="6872" r:id="rId32"/>
    <p:sldId id="6876" r:id="rId33"/>
    <p:sldId id="2007579887" r:id="rId34"/>
    <p:sldId id="3705" r:id="rId35"/>
    <p:sldId id="382" r:id="rId36"/>
  </p:sldIdLst>
  <p:sldSz cx="12192000" cy="6858000"/>
  <p:notesSz cx="10234613" cy="7104063"/>
  <p:custDataLst>
    <p:tags r:id="rId38"/>
  </p:custDataLst>
  <p:defaultTextStyle>
    <a:defPPr>
      <a:defRPr kern="0"/>
    </a:def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AKAMURA, Natsuho" initials="NN" lastIdx="42" clrIdx="0">
    <p:extLst>
      <p:ext uri="{19B8F6BF-5375-455C-9EA6-DF929625EA0E}">
        <p15:presenceInfo xmlns:p15="http://schemas.microsoft.com/office/powerpoint/2012/main" userId="S::A01307131@molgroup.com::a0f592a4-a375-40c1-9255-54efbb82c7db" providerId="AD"/>
      </p:ext>
    </p:extLst>
  </p:cmAuthor>
  <p:cmAuthor id="2" name="AOKI, Daisuke" initials="AD" lastIdx="1" clrIdx="1">
    <p:extLst>
      <p:ext uri="{19B8F6BF-5375-455C-9EA6-DF929625EA0E}">
        <p15:presenceInfo xmlns:p15="http://schemas.microsoft.com/office/powerpoint/2012/main" userId="S::A01302651@molgroup.com::aad1b96f-a9f2-41dc-91f5-dfbb287d1931" providerId="AD"/>
      </p:ext>
    </p:extLst>
  </p:cmAuthor>
  <p:cmAuthor id="3" name="YONEHARA, Akihiro" initials="YA" lastIdx="25" clrIdx="2">
    <p:extLst>
      <p:ext uri="{19B8F6BF-5375-455C-9EA6-DF929625EA0E}">
        <p15:presenceInfo xmlns:p15="http://schemas.microsoft.com/office/powerpoint/2012/main" userId="S::A01318744@molgroup.com::55f50bd6-4cff-489e-abbe-dfda8fabc622" providerId="AD"/>
      </p:ext>
    </p:extLst>
  </p:cmAuthor>
  <p:cmAuthor id="4" name="ITO, Takayuki" initials="IT" lastIdx="10" clrIdx="3">
    <p:extLst>
      <p:ext uri="{19B8F6BF-5375-455C-9EA6-DF929625EA0E}">
        <p15:presenceInfo xmlns:p15="http://schemas.microsoft.com/office/powerpoint/2012/main" userId="S::a01318752@molgroup.com::0e39a224-6616-4d51-a129-210305624140" providerId="AD"/>
      </p:ext>
    </p:extLst>
  </p:cmAuthor>
  <p:cmAuthor id="5" name="IWAMOTO, Takashi" initials="IT" lastIdx="4" clrIdx="4">
    <p:extLst>
      <p:ext uri="{19B8F6BF-5375-455C-9EA6-DF929625EA0E}">
        <p15:presenceInfo xmlns:p15="http://schemas.microsoft.com/office/powerpoint/2012/main" userId="S::a01301809@molgroup.com::4ca6e931-b628-44b5-a736-972274884e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F1FA"/>
    <a:srgbClr val="EE87B4"/>
    <a:srgbClr val="00A69A"/>
    <a:srgbClr val="005396"/>
    <a:srgbClr val="59595D"/>
    <a:srgbClr val="009BAE"/>
    <a:srgbClr val="A0DDC7"/>
    <a:srgbClr val="BCD3F6"/>
    <a:srgbClr val="BCD2F6"/>
    <a:srgbClr val="7176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342F80-BD85-4B3F-85E3-7312624F4C80}" v="18" dt="2024-02-15T11:03:58.918"/>
    <p1510:client id="{AD0C3BFC-7C82-4928-BDFE-B514B105C1E6}" v="234" dt="2024-02-15T10:40:18.32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06" autoAdjust="0"/>
  </p:normalViewPr>
  <p:slideViewPr>
    <p:cSldViewPr snapToGrid="0">
      <p:cViewPr varScale="1">
        <p:scale>
          <a:sx n="79" d="100"/>
          <a:sy n="79" d="100"/>
        </p:scale>
        <p:origin x="120" y="486"/>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commentAuthors" Target="commentAuthors.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tableStyles" Target="tableStyle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tags" Target="tags/tag1.xml"/><Relationship Id="rId20" Type="http://schemas.openxmlformats.org/officeDocument/2006/relationships/slide" Target="slides/slide4.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MIDA, Rei" userId="932807cb-e20e-4938-a276-88bbf4cb8e42" providerId="ADAL" clId="{EB3E8DCF-D5FF-495E-9EFD-3C52631232AD}"/>
    <pc:docChg chg="undo redo custSel addSld delSld modSld sldOrd modMainMaster delSection">
      <pc:chgData name="TOMIDA, Rei" userId="932807cb-e20e-4938-a276-88bbf4cb8e42" providerId="ADAL" clId="{EB3E8DCF-D5FF-495E-9EFD-3C52631232AD}" dt="2024-02-09T06:29:56.029" v="1621" actId="20577"/>
      <pc:docMkLst>
        <pc:docMk/>
      </pc:docMkLst>
      <pc:sldChg chg="addSp delSp modSp mod">
        <pc:chgData name="TOMIDA, Rei" userId="932807cb-e20e-4938-a276-88bbf4cb8e42" providerId="ADAL" clId="{EB3E8DCF-D5FF-495E-9EFD-3C52631232AD}" dt="2024-02-09T05:59:49.059" v="1287"/>
        <pc:sldMkLst>
          <pc:docMk/>
          <pc:sldMk cId="1044430555" sldId="382"/>
        </pc:sldMkLst>
        <pc:spChg chg="add mod">
          <ac:chgData name="TOMIDA, Rei" userId="932807cb-e20e-4938-a276-88bbf4cb8e42" providerId="ADAL" clId="{EB3E8DCF-D5FF-495E-9EFD-3C52631232AD}" dt="2024-02-09T05:59:49.059" v="1287"/>
          <ac:spMkLst>
            <pc:docMk/>
            <pc:sldMk cId="1044430555" sldId="382"/>
            <ac:spMk id="2" creationId="{0E46FAD4-1E40-DD94-EE10-7E8B09DBD811}"/>
          </ac:spMkLst>
        </pc:spChg>
        <pc:spChg chg="del">
          <ac:chgData name="TOMIDA, Rei" userId="932807cb-e20e-4938-a276-88bbf4cb8e42" providerId="ADAL" clId="{EB3E8DCF-D5FF-495E-9EFD-3C52631232AD}" dt="2024-02-09T05:59:47.801" v="1286" actId="478"/>
          <ac:spMkLst>
            <pc:docMk/>
            <pc:sldMk cId="1044430555" sldId="382"/>
            <ac:spMk id="4" creationId="{D11E886E-E7E8-C4AF-5203-D929A08F7C26}"/>
          </ac:spMkLst>
        </pc:spChg>
        <pc:spChg chg="mod">
          <ac:chgData name="TOMIDA, Rei" userId="932807cb-e20e-4938-a276-88bbf4cb8e42" providerId="ADAL" clId="{EB3E8DCF-D5FF-495E-9EFD-3C52631232AD}" dt="2024-02-09T05:37:45.221" v="789" actId="20577"/>
          <ac:spMkLst>
            <pc:docMk/>
            <pc:sldMk cId="1044430555" sldId="382"/>
            <ac:spMk id="8" creationId="{84BC8E8D-EA36-C136-A656-7831D71BF88F}"/>
          </ac:spMkLst>
        </pc:spChg>
      </pc:sldChg>
      <pc:sldChg chg="del">
        <pc:chgData name="TOMIDA, Rei" userId="932807cb-e20e-4938-a276-88bbf4cb8e42" providerId="ADAL" clId="{EB3E8DCF-D5FF-495E-9EFD-3C52631232AD}" dt="2024-02-09T05:56:25.389" v="1199" actId="47"/>
        <pc:sldMkLst>
          <pc:docMk/>
          <pc:sldMk cId="402313250" sldId="431"/>
        </pc:sldMkLst>
      </pc:sldChg>
      <pc:sldChg chg="del">
        <pc:chgData name="TOMIDA, Rei" userId="932807cb-e20e-4938-a276-88bbf4cb8e42" providerId="ADAL" clId="{EB3E8DCF-D5FF-495E-9EFD-3C52631232AD}" dt="2024-02-09T05:39:18.919" v="795" actId="47"/>
        <pc:sldMkLst>
          <pc:docMk/>
          <pc:sldMk cId="3513752127" sldId="564"/>
        </pc:sldMkLst>
      </pc:sldChg>
      <pc:sldChg chg="addSp delSp del mod">
        <pc:chgData name="TOMIDA, Rei" userId="932807cb-e20e-4938-a276-88bbf4cb8e42" providerId="ADAL" clId="{EB3E8DCF-D5FF-495E-9EFD-3C52631232AD}" dt="2024-02-09T05:14:50.787" v="120" actId="47"/>
        <pc:sldMkLst>
          <pc:docMk/>
          <pc:sldMk cId="1628735922" sldId="566"/>
        </pc:sldMkLst>
        <pc:spChg chg="add del">
          <ac:chgData name="TOMIDA, Rei" userId="932807cb-e20e-4938-a276-88bbf4cb8e42" providerId="ADAL" clId="{EB3E8DCF-D5FF-495E-9EFD-3C52631232AD}" dt="2024-02-09T05:11:13.049" v="2" actId="478"/>
          <ac:spMkLst>
            <pc:docMk/>
            <pc:sldMk cId="1628735922" sldId="566"/>
            <ac:spMk id="6" creationId="{59A8A7D8-B5C2-ADD8-E809-0254130425DF}"/>
          </ac:spMkLst>
        </pc:spChg>
        <pc:spChg chg="add del">
          <ac:chgData name="TOMIDA, Rei" userId="932807cb-e20e-4938-a276-88bbf4cb8e42" providerId="ADAL" clId="{EB3E8DCF-D5FF-495E-9EFD-3C52631232AD}" dt="2024-02-09T05:11:23.612" v="4" actId="478"/>
          <ac:spMkLst>
            <pc:docMk/>
            <pc:sldMk cId="1628735922" sldId="566"/>
            <ac:spMk id="8" creationId="{6FE05BA6-7806-EB6B-465F-BD5EDA94D447}"/>
          </ac:spMkLst>
        </pc:spChg>
      </pc:sldChg>
      <pc:sldChg chg="del">
        <pc:chgData name="TOMIDA, Rei" userId="932807cb-e20e-4938-a276-88bbf4cb8e42" providerId="ADAL" clId="{EB3E8DCF-D5FF-495E-9EFD-3C52631232AD}" dt="2024-02-09T05:16:05.121" v="127" actId="47"/>
        <pc:sldMkLst>
          <pc:docMk/>
          <pc:sldMk cId="75021613" sldId="567"/>
        </pc:sldMkLst>
      </pc:sldChg>
      <pc:sldChg chg="del">
        <pc:chgData name="TOMIDA, Rei" userId="932807cb-e20e-4938-a276-88bbf4cb8e42" providerId="ADAL" clId="{EB3E8DCF-D5FF-495E-9EFD-3C52631232AD}" dt="2024-02-09T05:16:06.393" v="129" actId="47"/>
        <pc:sldMkLst>
          <pc:docMk/>
          <pc:sldMk cId="172817664" sldId="568"/>
        </pc:sldMkLst>
      </pc:sldChg>
      <pc:sldChg chg="del">
        <pc:chgData name="TOMIDA, Rei" userId="932807cb-e20e-4938-a276-88bbf4cb8e42" providerId="ADAL" clId="{EB3E8DCF-D5FF-495E-9EFD-3C52631232AD}" dt="2024-02-09T05:16:05.733" v="128" actId="47"/>
        <pc:sldMkLst>
          <pc:docMk/>
          <pc:sldMk cId="3080225681" sldId="569"/>
        </pc:sldMkLst>
      </pc:sldChg>
      <pc:sldChg chg="addSp delSp modSp mod">
        <pc:chgData name="TOMIDA, Rei" userId="932807cb-e20e-4938-a276-88bbf4cb8e42" providerId="ADAL" clId="{EB3E8DCF-D5FF-495E-9EFD-3C52631232AD}" dt="2024-02-09T06:25:29.089" v="1551"/>
        <pc:sldMkLst>
          <pc:docMk/>
          <pc:sldMk cId="722576719" sldId="570"/>
        </pc:sldMkLst>
        <pc:spChg chg="del">
          <ac:chgData name="TOMIDA, Rei" userId="932807cb-e20e-4938-a276-88bbf4cb8e42" providerId="ADAL" clId="{EB3E8DCF-D5FF-495E-9EFD-3C52631232AD}" dt="2024-02-09T05:59:00.342" v="1272" actId="478"/>
          <ac:spMkLst>
            <pc:docMk/>
            <pc:sldMk cId="722576719" sldId="570"/>
            <ac:spMk id="2" creationId="{DB966DD4-B8BA-85D6-FB68-33C4A8154CF9}"/>
          </ac:spMkLst>
        </pc:spChg>
        <pc:spChg chg="add mod">
          <ac:chgData name="TOMIDA, Rei" userId="932807cb-e20e-4938-a276-88bbf4cb8e42" providerId="ADAL" clId="{EB3E8DCF-D5FF-495E-9EFD-3C52631232AD}" dt="2024-02-09T06:25:29.089" v="1551"/>
          <ac:spMkLst>
            <pc:docMk/>
            <pc:sldMk cId="722576719" sldId="570"/>
            <ac:spMk id="4" creationId="{8CAE00CC-E1B8-99A2-FE8D-16C5A219A479}"/>
          </ac:spMkLst>
        </pc:spChg>
        <pc:spChg chg="del mod">
          <ac:chgData name="TOMIDA, Rei" userId="932807cb-e20e-4938-a276-88bbf4cb8e42" providerId="ADAL" clId="{EB3E8DCF-D5FF-495E-9EFD-3C52631232AD}" dt="2024-02-09T06:19:57.033" v="1528" actId="478"/>
          <ac:spMkLst>
            <pc:docMk/>
            <pc:sldMk cId="722576719" sldId="570"/>
            <ac:spMk id="10" creationId="{DE1B33B0-C981-7339-EEEA-45AC4F82A9F4}"/>
          </ac:spMkLst>
        </pc:spChg>
        <pc:spChg chg="del mod">
          <ac:chgData name="TOMIDA, Rei" userId="932807cb-e20e-4938-a276-88bbf4cb8e42" providerId="ADAL" clId="{EB3E8DCF-D5FF-495E-9EFD-3C52631232AD}" dt="2024-02-09T06:20:00.537" v="1529" actId="478"/>
          <ac:spMkLst>
            <pc:docMk/>
            <pc:sldMk cId="722576719" sldId="570"/>
            <ac:spMk id="11" creationId="{6F41439B-99B6-184B-1D42-E31A3CAFF5D1}"/>
          </ac:spMkLst>
        </pc:spChg>
        <pc:spChg chg="mod">
          <ac:chgData name="TOMIDA, Rei" userId="932807cb-e20e-4938-a276-88bbf4cb8e42" providerId="ADAL" clId="{EB3E8DCF-D5FF-495E-9EFD-3C52631232AD}" dt="2024-02-09T05:40:39.471" v="817" actId="1037"/>
          <ac:spMkLst>
            <pc:docMk/>
            <pc:sldMk cId="722576719" sldId="570"/>
            <ac:spMk id="14" creationId="{BB937D9D-39A4-925B-DA97-71B750C8B704}"/>
          </ac:spMkLst>
        </pc:spChg>
        <pc:spChg chg="mod">
          <ac:chgData name="TOMIDA, Rei" userId="932807cb-e20e-4938-a276-88bbf4cb8e42" providerId="ADAL" clId="{EB3E8DCF-D5FF-495E-9EFD-3C52631232AD}" dt="2024-02-09T06:22:11.697" v="1545" actId="1076"/>
          <ac:spMkLst>
            <pc:docMk/>
            <pc:sldMk cId="722576719" sldId="570"/>
            <ac:spMk id="15" creationId="{B338D988-B293-B8F8-CD59-7EA5D8DBEC7D}"/>
          </ac:spMkLst>
        </pc:spChg>
        <pc:picChg chg="add mod">
          <ac:chgData name="TOMIDA, Rei" userId="932807cb-e20e-4938-a276-88bbf4cb8e42" providerId="ADAL" clId="{EB3E8DCF-D5FF-495E-9EFD-3C52631232AD}" dt="2024-02-09T06:20:12.715" v="1531" actId="14100"/>
          <ac:picMkLst>
            <pc:docMk/>
            <pc:sldMk cId="722576719" sldId="570"/>
            <ac:picMk id="7" creationId="{15E483A7-D4D2-9C81-BD62-00361380889F}"/>
          </ac:picMkLst>
        </pc:picChg>
        <pc:picChg chg="mod modCrop">
          <ac:chgData name="TOMIDA, Rei" userId="932807cb-e20e-4938-a276-88bbf4cb8e42" providerId="ADAL" clId="{EB3E8DCF-D5FF-495E-9EFD-3C52631232AD}" dt="2024-02-09T06:21:59.561" v="1544" actId="1076"/>
          <ac:picMkLst>
            <pc:docMk/>
            <pc:sldMk cId="722576719" sldId="570"/>
            <ac:picMk id="9" creationId="{F69668AA-7304-6876-CB6E-6DAC4C0B3294}"/>
          </ac:picMkLst>
        </pc:picChg>
        <pc:picChg chg="mod">
          <ac:chgData name="TOMIDA, Rei" userId="932807cb-e20e-4938-a276-88bbf4cb8e42" providerId="ADAL" clId="{EB3E8DCF-D5FF-495E-9EFD-3C52631232AD}" dt="2024-02-09T06:21:40.389" v="1542" actId="1076"/>
          <ac:picMkLst>
            <pc:docMk/>
            <pc:sldMk cId="722576719" sldId="570"/>
            <ac:picMk id="13" creationId="{FE90ADE4-73C0-9462-1ADF-BB2C208C6451}"/>
          </ac:picMkLst>
        </pc:picChg>
      </pc:sldChg>
      <pc:sldChg chg="del">
        <pc:chgData name="TOMIDA, Rei" userId="932807cb-e20e-4938-a276-88bbf4cb8e42" providerId="ADAL" clId="{EB3E8DCF-D5FF-495E-9EFD-3C52631232AD}" dt="2024-02-09T05:16:04.374" v="126" actId="47"/>
        <pc:sldMkLst>
          <pc:docMk/>
          <pc:sldMk cId="1666055156" sldId="572"/>
        </pc:sldMkLst>
      </pc:sldChg>
      <pc:sldChg chg="del">
        <pc:chgData name="TOMIDA, Rei" userId="932807cb-e20e-4938-a276-88bbf4cb8e42" providerId="ADAL" clId="{EB3E8DCF-D5FF-495E-9EFD-3C52631232AD}" dt="2024-02-09T05:16:08.328" v="130" actId="47"/>
        <pc:sldMkLst>
          <pc:docMk/>
          <pc:sldMk cId="2184800657" sldId="573"/>
        </pc:sldMkLst>
      </pc:sldChg>
      <pc:sldChg chg="addSp delSp modSp mod">
        <pc:chgData name="TOMIDA, Rei" userId="932807cb-e20e-4938-a276-88bbf4cb8e42" providerId="ADAL" clId="{EB3E8DCF-D5FF-495E-9EFD-3C52631232AD}" dt="2024-02-09T06:25:29.089" v="1551"/>
        <pc:sldMkLst>
          <pc:docMk/>
          <pc:sldMk cId="423596957" sldId="3705"/>
        </pc:sldMkLst>
        <pc:spChg chg="add mod">
          <ac:chgData name="TOMIDA, Rei" userId="932807cb-e20e-4938-a276-88bbf4cb8e42" providerId="ADAL" clId="{EB3E8DCF-D5FF-495E-9EFD-3C52631232AD}" dt="2024-02-09T06:25:29.089" v="1551"/>
          <ac:spMkLst>
            <pc:docMk/>
            <pc:sldMk cId="423596957" sldId="3705"/>
            <ac:spMk id="4" creationId="{62C637AC-0655-7BF6-8983-4884A1DC1F01}"/>
          </ac:spMkLst>
        </pc:spChg>
        <pc:spChg chg="del">
          <ac:chgData name="TOMIDA, Rei" userId="932807cb-e20e-4938-a276-88bbf4cb8e42" providerId="ADAL" clId="{EB3E8DCF-D5FF-495E-9EFD-3C52631232AD}" dt="2024-02-09T05:59:39.785" v="1284" actId="478"/>
          <ac:spMkLst>
            <pc:docMk/>
            <pc:sldMk cId="423596957" sldId="3705"/>
            <ac:spMk id="17" creationId="{D4FFAED3-40C3-4AAC-8FA5-FE0C8A9EAA00}"/>
          </ac:spMkLst>
        </pc:spChg>
      </pc:sldChg>
      <pc:sldChg chg="modSp">
        <pc:chgData name="TOMIDA, Rei" userId="932807cb-e20e-4938-a276-88bbf4cb8e42" providerId="ADAL" clId="{EB3E8DCF-D5FF-495E-9EFD-3C52631232AD}" dt="2024-02-09T06:25:29.089" v="1551"/>
        <pc:sldMkLst>
          <pc:docMk/>
          <pc:sldMk cId="412281554" sldId="3708"/>
        </pc:sldMkLst>
        <pc:spChg chg="mod">
          <ac:chgData name="TOMIDA, Rei" userId="932807cb-e20e-4938-a276-88bbf4cb8e42" providerId="ADAL" clId="{EB3E8DCF-D5FF-495E-9EFD-3C52631232AD}" dt="2024-02-09T06:25:29.089" v="1551"/>
          <ac:spMkLst>
            <pc:docMk/>
            <pc:sldMk cId="412281554" sldId="3708"/>
            <ac:spMk id="2" creationId="{0CE2BB47-8376-48D8-8A25-6CE41363E6A7}"/>
          </ac:spMkLst>
        </pc:spChg>
        <pc:spChg chg="mod">
          <ac:chgData name="TOMIDA, Rei" userId="932807cb-e20e-4938-a276-88bbf4cb8e42" providerId="ADAL" clId="{EB3E8DCF-D5FF-495E-9EFD-3C52631232AD}" dt="2024-02-09T06:25:29.089" v="1551"/>
          <ac:spMkLst>
            <pc:docMk/>
            <pc:sldMk cId="412281554" sldId="3708"/>
            <ac:spMk id="3" creationId="{AD0866A5-92B5-465D-95A3-A558BE5340DD}"/>
          </ac:spMkLst>
        </pc:spChg>
        <pc:spChg chg="mod">
          <ac:chgData name="TOMIDA, Rei" userId="932807cb-e20e-4938-a276-88bbf4cb8e42" providerId="ADAL" clId="{EB3E8DCF-D5FF-495E-9EFD-3C52631232AD}" dt="2024-02-09T06:25:29.089" v="1551"/>
          <ac:spMkLst>
            <pc:docMk/>
            <pc:sldMk cId="412281554" sldId="3708"/>
            <ac:spMk id="4" creationId="{23C510EB-48F2-4810-97CC-4B9298EB7E44}"/>
          </ac:spMkLst>
        </pc:spChg>
        <pc:spChg chg="mod">
          <ac:chgData name="TOMIDA, Rei" userId="932807cb-e20e-4938-a276-88bbf4cb8e42" providerId="ADAL" clId="{EB3E8DCF-D5FF-495E-9EFD-3C52631232AD}" dt="2024-02-09T06:25:29.089" v="1551"/>
          <ac:spMkLst>
            <pc:docMk/>
            <pc:sldMk cId="412281554" sldId="3708"/>
            <ac:spMk id="6" creationId="{80828537-6A07-4D69-8306-B2E20902756A}"/>
          </ac:spMkLst>
        </pc:spChg>
      </pc:sldChg>
      <pc:sldChg chg="add del">
        <pc:chgData name="TOMIDA, Rei" userId="932807cb-e20e-4938-a276-88bbf4cb8e42" providerId="ADAL" clId="{EB3E8DCF-D5FF-495E-9EFD-3C52631232AD}" dt="2024-02-09T05:55:54.064" v="1191" actId="2696"/>
        <pc:sldMkLst>
          <pc:docMk/>
          <pc:sldMk cId="2409227332" sldId="3745"/>
        </pc:sldMkLst>
      </pc:sldChg>
      <pc:sldChg chg="modSp">
        <pc:chgData name="TOMIDA, Rei" userId="932807cb-e20e-4938-a276-88bbf4cb8e42" providerId="ADAL" clId="{EB3E8DCF-D5FF-495E-9EFD-3C52631232AD}" dt="2024-02-09T06:25:29.089" v="1551"/>
        <pc:sldMkLst>
          <pc:docMk/>
          <pc:sldMk cId="952960604" sldId="3758"/>
        </pc:sldMkLst>
        <pc:spChg chg="mod">
          <ac:chgData name="TOMIDA, Rei" userId="932807cb-e20e-4938-a276-88bbf4cb8e42" providerId="ADAL" clId="{EB3E8DCF-D5FF-495E-9EFD-3C52631232AD}" dt="2024-02-09T06:25:29.089" v="1551"/>
          <ac:spMkLst>
            <pc:docMk/>
            <pc:sldMk cId="952960604" sldId="3758"/>
            <ac:spMk id="2" creationId="{079412FD-3887-4445-84E9-C9C16BDCA29D}"/>
          </ac:spMkLst>
        </pc:spChg>
        <pc:spChg chg="mod">
          <ac:chgData name="TOMIDA, Rei" userId="932807cb-e20e-4938-a276-88bbf4cb8e42" providerId="ADAL" clId="{EB3E8DCF-D5FF-495E-9EFD-3C52631232AD}" dt="2024-02-09T06:25:29.089" v="1551"/>
          <ac:spMkLst>
            <pc:docMk/>
            <pc:sldMk cId="952960604" sldId="3758"/>
            <ac:spMk id="4" creationId="{8878614C-6A37-406C-B202-49414516E43F}"/>
          </ac:spMkLst>
        </pc:spChg>
      </pc:sldChg>
      <pc:sldChg chg="del">
        <pc:chgData name="TOMIDA, Rei" userId="932807cb-e20e-4938-a276-88bbf4cb8e42" providerId="ADAL" clId="{EB3E8DCF-D5FF-495E-9EFD-3C52631232AD}" dt="2024-02-09T05:56:23.586" v="1195" actId="47"/>
        <pc:sldMkLst>
          <pc:docMk/>
          <pc:sldMk cId="890846184" sldId="3761"/>
        </pc:sldMkLst>
      </pc:sldChg>
      <pc:sldChg chg="del">
        <pc:chgData name="TOMIDA, Rei" userId="932807cb-e20e-4938-a276-88bbf4cb8e42" providerId="ADAL" clId="{EB3E8DCF-D5FF-495E-9EFD-3C52631232AD}" dt="2024-02-09T05:57:00.311" v="1202" actId="47"/>
        <pc:sldMkLst>
          <pc:docMk/>
          <pc:sldMk cId="4224178697" sldId="3772"/>
        </pc:sldMkLst>
      </pc:sldChg>
      <pc:sldChg chg="del">
        <pc:chgData name="TOMIDA, Rei" userId="932807cb-e20e-4938-a276-88bbf4cb8e42" providerId="ADAL" clId="{EB3E8DCF-D5FF-495E-9EFD-3C52631232AD}" dt="2024-02-09T05:57:01.306" v="1204" actId="47"/>
        <pc:sldMkLst>
          <pc:docMk/>
          <pc:sldMk cId="2706995515" sldId="3774"/>
        </pc:sldMkLst>
      </pc:sldChg>
      <pc:sldChg chg="del">
        <pc:chgData name="TOMIDA, Rei" userId="932807cb-e20e-4938-a276-88bbf4cb8e42" providerId="ADAL" clId="{EB3E8DCF-D5FF-495E-9EFD-3C52631232AD}" dt="2024-02-09T05:57:02.458" v="1205" actId="47"/>
        <pc:sldMkLst>
          <pc:docMk/>
          <pc:sldMk cId="971277497" sldId="3775"/>
        </pc:sldMkLst>
      </pc:sldChg>
      <pc:sldChg chg="addSp delSp modSp add mod ord">
        <pc:chgData name="TOMIDA, Rei" userId="932807cb-e20e-4938-a276-88bbf4cb8e42" providerId="ADAL" clId="{EB3E8DCF-D5FF-495E-9EFD-3C52631232AD}" dt="2024-02-09T06:29:56.029" v="1621" actId="20577"/>
        <pc:sldMkLst>
          <pc:docMk/>
          <pc:sldMk cId="1841539618" sldId="3799"/>
        </pc:sldMkLst>
        <pc:spChg chg="add del mod">
          <ac:chgData name="TOMIDA, Rei" userId="932807cb-e20e-4938-a276-88bbf4cb8e42" providerId="ADAL" clId="{EB3E8DCF-D5FF-495E-9EFD-3C52631232AD}" dt="2024-02-09T05:50:28.042" v="1175" actId="478"/>
          <ac:spMkLst>
            <pc:docMk/>
            <pc:sldMk cId="1841539618" sldId="3799"/>
            <ac:spMk id="2" creationId="{DA3193E8-25E7-E139-46D9-CD0FCC2BB2F6}"/>
          </ac:spMkLst>
        </pc:spChg>
        <pc:spChg chg="add del mod">
          <ac:chgData name="TOMIDA, Rei" userId="932807cb-e20e-4938-a276-88bbf4cb8e42" providerId="ADAL" clId="{EB3E8DCF-D5FF-495E-9EFD-3C52631232AD}" dt="2024-02-09T06:26:28.800" v="1556"/>
          <ac:spMkLst>
            <pc:docMk/>
            <pc:sldMk cId="1841539618" sldId="3799"/>
            <ac:spMk id="3" creationId="{486EA29A-2061-4DC8-88B0-7A2D4F31421B}"/>
          </ac:spMkLst>
        </pc:spChg>
        <pc:spChg chg="del">
          <ac:chgData name="TOMIDA, Rei" userId="932807cb-e20e-4938-a276-88bbf4cb8e42" providerId="ADAL" clId="{EB3E8DCF-D5FF-495E-9EFD-3C52631232AD}" dt="2024-02-09T05:39:41.241" v="800" actId="478"/>
          <ac:spMkLst>
            <pc:docMk/>
            <pc:sldMk cId="1841539618" sldId="3799"/>
            <ac:spMk id="4" creationId="{88148066-EE40-1C64-3DD1-FAFCAB856B14}"/>
          </ac:spMkLst>
        </pc:spChg>
        <pc:spChg chg="add mod">
          <ac:chgData name="TOMIDA, Rei" userId="932807cb-e20e-4938-a276-88bbf4cb8e42" providerId="ADAL" clId="{EB3E8DCF-D5FF-495E-9EFD-3C52631232AD}" dt="2024-02-09T06:29:56.029" v="1621" actId="20577"/>
          <ac:spMkLst>
            <pc:docMk/>
            <pc:sldMk cId="1841539618" sldId="3799"/>
            <ac:spMk id="5" creationId="{1C76DA6E-0DD4-1637-8854-97AF9B5274FF}"/>
          </ac:spMkLst>
        </pc:spChg>
        <pc:spChg chg="add del mod">
          <ac:chgData name="TOMIDA, Rei" userId="932807cb-e20e-4938-a276-88bbf4cb8e42" providerId="ADAL" clId="{EB3E8DCF-D5FF-495E-9EFD-3C52631232AD}" dt="2024-02-09T06:26:53.132" v="1561" actId="478"/>
          <ac:spMkLst>
            <pc:docMk/>
            <pc:sldMk cId="1841539618" sldId="3799"/>
            <ac:spMk id="9" creationId="{D6896FCA-58C8-5E0D-C1D4-A4B8AF41DBCB}"/>
          </ac:spMkLst>
        </pc:spChg>
        <pc:spChg chg="del mod">
          <ac:chgData name="TOMIDA, Rei" userId="932807cb-e20e-4938-a276-88bbf4cb8e42" providerId="ADAL" clId="{EB3E8DCF-D5FF-495E-9EFD-3C52631232AD}" dt="2024-02-09T06:26:48.926" v="1560" actId="478"/>
          <ac:spMkLst>
            <pc:docMk/>
            <pc:sldMk cId="1841539618" sldId="3799"/>
            <ac:spMk id="11" creationId="{40CD7959-9EF4-39CB-1BBC-DCF06382C02C}"/>
          </ac:spMkLst>
        </pc:spChg>
      </pc:sldChg>
      <pc:sldChg chg="modSp">
        <pc:chgData name="TOMIDA, Rei" userId="932807cb-e20e-4938-a276-88bbf4cb8e42" providerId="ADAL" clId="{EB3E8DCF-D5FF-495E-9EFD-3C52631232AD}" dt="2024-02-09T06:25:29.089" v="1551"/>
        <pc:sldMkLst>
          <pc:docMk/>
          <pc:sldMk cId="3576342233" sldId="3800"/>
        </pc:sldMkLst>
        <pc:spChg chg="mod">
          <ac:chgData name="TOMIDA, Rei" userId="932807cb-e20e-4938-a276-88bbf4cb8e42" providerId="ADAL" clId="{EB3E8DCF-D5FF-495E-9EFD-3C52631232AD}" dt="2024-02-09T06:25:29.089" v="1551"/>
          <ac:spMkLst>
            <pc:docMk/>
            <pc:sldMk cId="3576342233" sldId="3800"/>
            <ac:spMk id="4" creationId="{95D37F58-A9F2-409F-AA0C-AD6E0BE7E109}"/>
          </ac:spMkLst>
        </pc:spChg>
      </pc:sldChg>
      <pc:sldChg chg="del">
        <pc:chgData name="TOMIDA, Rei" userId="932807cb-e20e-4938-a276-88bbf4cb8e42" providerId="ADAL" clId="{EB3E8DCF-D5FF-495E-9EFD-3C52631232AD}" dt="2024-02-09T05:56:23.279" v="1194" actId="47"/>
        <pc:sldMkLst>
          <pc:docMk/>
          <pc:sldMk cId="3264128531" sldId="3801"/>
        </pc:sldMkLst>
      </pc:sldChg>
      <pc:sldChg chg="del">
        <pc:chgData name="TOMIDA, Rei" userId="932807cb-e20e-4938-a276-88bbf4cb8e42" providerId="ADAL" clId="{EB3E8DCF-D5FF-495E-9EFD-3C52631232AD}" dt="2024-02-09T05:56:24.081" v="1196" actId="47"/>
        <pc:sldMkLst>
          <pc:docMk/>
          <pc:sldMk cId="861030567" sldId="3802"/>
        </pc:sldMkLst>
      </pc:sldChg>
      <pc:sldChg chg="del">
        <pc:chgData name="TOMIDA, Rei" userId="932807cb-e20e-4938-a276-88bbf4cb8e42" providerId="ADAL" clId="{EB3E8DCF-D5FF-495E-9EFD-3C52631232AD}" dt="2024-02-09T05:56:24.562" v="1197" actId="47"/>
        <pc:sldMkLst>
          <pc:docMk/>
          <pc:sldMk cId="1608816558" sldId="3803"/>
        </pc:sldMkLst>
      </pc:sldChg>
      <pc:sldChg chg="del">
        <pc:chgData name="TOMIDA, Rei" userId="932807cb-e20e-4938-a276-88bbf4cb8e42" providerId="ADAL" clId="{EB3E8DCF-D5FF-495E-9EFD-3C52631232AD}" dt="2024-02-09T05:56:24.933" v="1198" actId="47"/>
        <pc:sldMkLst>
          <pc:docMk/>
          <pc:sldMk cId="818723614" sldId="3805"/>
        </pc:sldMkLst>
      </pc:sldChg>
      <pc:sldChg chg="del">
        <pc:chgData name="TOMIDA, Rei" userId="932807cb-e20e-4938-a276-88bbf4cb8e42" providerId="ADAL" clId="{EB3E8DCF-D5FF-495E-9EFD-3C52631232AD}" dt="2024-02-09T05:56:59.794" v="1201" actId="47"/>
        <pc:sldMkLst>
          <pc:docMk/>
          <pc:sldMk cId="2017166851" sldId="3809"/>
        </pc:sldMkLst>
      </pc:sldChg>
      <pc:sldChg chg="del">
        <pc:chgData name="TOMIDA, Rei" userId="932807cb-e20e-4938-a276-88bbf4cb8e42" providerId="ADAL" clId="{EB3E8DCF-D5FF-495E-9EFD-3C52631232AD}" dt="2024-02-09T05:57:00.699" v="1203" actId="47"/>
        <pc:sldMkLst>
          <pc:docMk/>
          <pc:sldMk cId="3627027974" sldId="3810"/>
        </pc:sldMkLst>
      </pc:sldChg>
      <pc:sldChg chg="del">
        <pc:chgData name="TOMIDA, Rei" userId="932807cb-e20e-4938-a276-88bbf4cb8e42" providerId="ADAL" clId="{EB3E8DCF-D5FF-495E-9EFD-3C52631232AD}" dt="2024-02-09T05:57:06.180" v="1209" actId="47"/>
        <pc:sldMkLst>
          <pc:docMk/>
          <pc:sldMk cId="3275991796" sldId="3811"/>
        </pc:sldMkLst>
      </pc:sldChg>
      <pc:sldChg chg="del">
        <pc:chgData name="TOMIDA, Rei" userId="932807cb-e20e-4938-a276-88bbf4cb8e42" providerId="ADAL" clId="{EB3E8DCF-D5FF-495E-9EFD-3C52631232AD}" dt="2024-02-09T05:56:59.140" v="1200" actId="47"/>
        <pc:sldMkLst>
          <pc:docMk/>
          <pc:sldMk cId="1267856033" sldId="3823"/>
        </pc:sldMkLst>
      </pc:sldChg>
      <pc:sldChg chg="del">
        <pc:chgData name="TOMIDA, Rei" userId="932807cb-e20e-4938-a276-88bbf4cb8e42" providerId="ADAL" clId="{EB3E8DCF-D5FF-495E-9EFD-3C52631232AD}" dt="2024-02-09T05:28:37.220" v="459" actId="47"/>
        <pc:sldMkLst>
          <pc:docMk/>
          <pc:sldMk cId="3798418720" sldId="3828"/>
        </pc:sldMkLst>
      </pc:sldChg>
      <pc:sldChg chg="addSp delSp modSp mod ord">
        <pc:chgData name="TOMIDA, Rei" userId="932807cb-e20e-4938-a276-88bbf4cb8e42" providerId="ADAL" clId="{EB3E8DCF-D5FF-495E-9EFD-3C52631232AD}" dt="2024-02-09T06:27:57.329" v="1578" actId="478"/>
        <pc:sldMkLst>
          <pc:docMk/>
          <pc:sldMk cId="2868962745" sldId="4024"/>
        </pc:sldMkLst>
        <pc:spChg chg="del">
          <ac:chgData name="TOMIDA, Rei" userId="932807cb-e20e-4938-a276-88bbf4cb8e42" providerId="ADAL" clId="{EB3E8DCF-D5FF-495E-9EFD-3C52631232AD}" dt="2024-02-09T05:58:43.740" v="1268" actId="478"/>
          <ac:spMkLst>
            <pc:docMk/>
            <pc:sldMk cId="2868962745" sldId="4024"/>
            <ac:spMk id="2" creationId="{0C645BCF-659C-937F-6B3D-BFD861554B2C}"/>
          </ac:spMkLst>
        </pc:spChg>
        <pc:spChg chg="del mod">
          <ac:chgData name="TOMIDA, Rei" userId="932807cb-e20e-4938-a276-88bbf4cb8e42" providerId="ADAL" clId="{EB3E8DCF-D5FF-495E-9EFD-3C52631232AD}" dt="2024-02-09T06:27:54.966" v="1577" actId="478"/>
          <ac:spMkLst>
            <pc:docMk/>
            <pc:sldMk cId="2868962745" sldId="4024"/>
            <ac:spMk id="4" creationId="{963F0A56-AB20-E5FD-43BD-A378D5075E86}"/>
          </ac:spMkLst>
        </pc:spChg>
        <pc:spChg chg="add mod">
          <ac:chgData name="TOMIDA, Rei" userId="932807cb-e20e-4938-a276-88bbf4cb8e42" providerId="ADAL" clId="{EB3E8DCF-D5FF-495E-9EFD-3C52631232AD}" dt="2024-02-09T06:25:29.089" v="1551"/>
          <ac:spMkLst>
            <pc:docMk/>
            <pc:sldMk cId="2868962745" sldId="4024"/>
            <ac:spMk id="5" creationId="{18E9963A-B1C4-C29C-C637-F783DF2B9410}"/>
          </ac:spMkLst>
        </pc:spChg>
        <pc:spChg chg="add del mod">
          <ac:chgData name="TOMIDA, Rei" userId="932807cb-e20e-4938-a276-88bbf4cb8e42" providerId="ADAL" clId="{EB3E8DCF-D5FF-495E-9EFD-3C52631232AD}" dt="2024-02-09T06:27:41.405" v="1573"/>
          <ac:spMkLst>
            <pc:docMk/>
            <pc:sldMk cId="2868962745" sldId="4024"/>
            <ac:spMk id="8" creationId="{7E1CF3AB-9D7E-79F1-513C-22793887279F}"/>
          </ac:spMkLst>
        </pc:spChg>
        <pc:spChg chg="add mod">
          <ac:chgData name="TOMIDA, Rei" userId="932807cb-e20e-4938-a276-88bbf4cb8e42" providerId="ADAL" clId="{EB3E8DCF-D5FF-495E-9EFD-3C52631232AD}" dt="2024-02-09T06:27:52.289" v="1576"/>
          <ac:spMkLst>
            <pc:docMk/>
            <pc:sldMk cId="2868962745" sldId="4024"/>
            <ac:spMk id="9" creationId="{43A56699-65C6-86EC-E5BA-37B87D9523E3}"/>
          </ac:spMkLst>
        </pc:spChg>
        <pc:spChg chg="add del mod">
          <ac:chgData name="TOMIDA, Rei" userId="932807cb-e20e-4938-a276-88bbf4cb8e42" providerId="ADAL" clId="{EB3E8DCF-D5FF-495E-9EFD-3C52631232AD}" dt="2024-02-09T06:27:57.329" v="1578" actId="478"/>
          <ac:spMkLst>
            <pc:docMk/>
            <pc:sldMk cId="2868962745" sldId="4024"/>
            <ac:spMk id="12" creationId="{CDD70141-6810-0264-D775-25AF5E389A3F}"/>
          </ac:spMkLst>
        </pc:spChg>
      </pc:sldChg>
      <pc:sldChg chg="addSp delSp modSp mod ord">
        <pc:chgData name="TOMIDA, Rei" userId="932807cb-e20e-4938-a276-88bbf4cb8e42" providerId="ADAL" clId="{EB3E8DCF-D5FF-495E-9EFD-3C52631232AD}" dt="2024-02-09T06:27:32.465" v="1571" actId="478"/>
        <pc:sldMkLst>
          <pc:docMk/>
          <pc:sldMk cId="2790333214" sldId="4025"/>
        </pc:sldMkLst>
        <pc:spChg chg="del">
          <ac:chgData name="TOMIDA, Rei" userId="932807cb-e20e-4938-a276-88bbf4cb8e42" providerId="ADAL" clId="{EB3E8DCF-D5FF-495E-9EFD-3C52631232AD}" dt="2024-02-09T05:58:39.427" v="1266" actId="478"/>
          <ac:spMkLst>
            <pc:docMk/>
            <pc:sldMk cId="2790333214" sldId="4025"/>
            <ac:spMk id="2" creationId="{BC8B1E32-999E-CE8B-C076-38F4832557DF}"/>
          </ac:spMkLst>
        </pc:spChg>
        <pc:spChg chg="mod">
          <ac:chgData name="TOMIDA, Rei" userId="932807cb-e20e-4938-a276-88bbf4cb8e42" providerId="ADAL" clId="{EB3E8DCF-D5FF-495E-9EFD-3C52631232AD}" dt="2024-02-09T05:27:37.127" v="458"/>
          <ac:spMkLst>
            <pc:docMk/>
            <pc:sldMk cId="2790333214" sldId="4025"/>
            <ac:spMk id="3" creationId="{7D40BF0A-444B-672F-674F-27BD73E0A2BE}"/>
          </ac:spMkLst>
        </pc:spChg>
        <pc:spChg chg="del mod">
          <ac:chgData name="TOMIDA, Rei" userId="932807cb-e20e-4938-a276-88bbf4cb8e42" providerId="ADAL" clId="{EB3E8DCF-D5FF-495E-9EFD-3C52631232AD}" dt="2024-02-09T06:27:29.542" v="1570" actId="478"/>
          <ac:spMkLst>
            <pc:docMk/>
            <pc:sldMk cId="2790333214" sldId="4025"/>
            <ac:spMk id="4" creationId="{3C1158DE-7B5F-C559-7990-66461AADE2D6}"/>
          </ac:spMkLst>
        </pc:spChg>
        <pc:spChg chg="add del mod">
          <ac:chgData name="TOMIDA, Rei" userId="932807cb-e20e-4938-a276-88bbf4cb8e42" providerId="ADAL" clId="{EB3E8DCF-D5FF-495E-9EFD-3C52631232AD}" dt="2024-02-09T05:58:29.387" v="1264"/>
          <ac:spMkLst>
            <pc:docMk/>
            <pc:sldMk cId="2790333214" sldId="4025"/>
            <ac:spMk id="5" creationId="{A8994DB6-2B54-78F4-E918-EA5F839129BC}"/>
          </ac:spMkLst>
        </pc:spChg>
        <pc:spChg chg="add del mod">
          <ac:chgData name="TOMIDA, Rei" userId="932807cb-e20e-4938-a276-88bbf4cb8e42" providerId="ADAL" clId="{EB3E8DCF-D5FF-495E-9EFD-3C52631232AD}" dt="2024-02-09T05:58:40.756" v="1267" actId="478"/>
          <ac:spMkLst>
            <pc:docMk/>
            <pc:sldMk cId="2790333214" sldId="4025"/>
            <ac:spMk id="7" creationId="{A66EA569-A803-7E6D-E420-5EB9CCA5A919}"/>
          </ac:spMkLst>
        </pc:spChg>
        <pc:spChg chg="add mod">
          <ac:chgData name="TOMIDA, Rei" userId="932807cb-e20e-4938-a276-88bbf4cb8e42" providerId="ADAL" clId="{EB3E8DCF-D5FF-495E-9EFD-3C52631232AD}" dt="2024-02-09T06:25:29.089" v="1551"/>
          <ac:spMkLst>
            <pc:docMk/>
            <pc:sldMk cId="2790333214" sldId="4025"/>
            <ac:spMk id="11" creationId="{B293F3EA-B9B4-F513-E5A7-EF5663793C02}"/>
          </ac:spMkLst>
        </pc:spChg>
        <pc:spChg chg="add del mod">
          <ac:chgData name="TOMIDA, Rei" userId="932807cb-e20e-4938-a276-88bbf4cb8e42" providerId="ADAL" clId="{EB3E8DCF-D5FF-495E-9EFD-3C52631232AD}" dt="2024-02-09T06:27:26.247" v="1569" actId="478"/>
          <ac:spMkLst>
            <pc:docMk/>
            <pc:sldMk cId="2790333214" sldId="4025"/>
            <ac:spMk id="12" creationId="{2E6730FF-055E-15A9-A16E-9B06073C45DE}"/>
          </ac:spMkLst>
        </pc:spChg>
        <pc:spChg chg="add mod">
          <ac:chgData name="TOMIDA, Rei" userId="932807cb-e20e-4938-a276-88bbf4cb8e42" providerId="ADAL" clId="{EB3E8DCF-D5FF-495E-9EFD-3C52631232AD}" dt="2024-02-09T06:27:23.624" v="1568"/>
          <ac:spMkLst>
            <pc:docMk/>
            <pc:sldMk cId="2790333214" sldId="4025"/>
            <ac:spMk id="17" creationId="{6B5B07AC-49F5-2FC4-9BCE-01D459397DA8}"/>
          </ac:spMkLst>
        </pc:spChg>
        <pc:spChg chg="mod">
          <ac:chgData name="TOMIDA, Rei" userId="932807cb-e20e-4938-a276-88bbf4cb8e42" providerId="ADAL" clId="{EB3E8DCF-D5FF-495E-9EFD-3C52631232AD}" dt="2024-02-09T05:27:26.596" v="424"/>
          <ac:spMkLst>
            <pc:docMk/>
            <pc:sldMk cId="2790333214" sldId="4025"/>
            <ac:spMk id="22" creationId="{E88DEF4C-36C9-C39D-C420-A23863CEF95B}"/>
          </ac:spMkLst>
        </pc:spChg>
        <pc:spChg chg="add del mod">
          <ac:chgData name="TOMIDA, Rei" userId="932807cb-e20e-4938-a276-88bbf4cb8e42" providerId="ADAL" clId="{EB3E8DCF-D5FF-495E-9EFD-3C52631232AD}" dt="2024-02-09T06:27:32.465" v="1571" actId="478"/>
          <ac:spMkLst>
            <pc:docMk/>
            <pc:sldMk cId="2790333214" sldId="4025"/>
            <ac:spMk id="27" creationId="{8DA23CE8-F47B-DF29-6D34-78D6D0769163}"/>
          </ac:spMkLst>
        </pc:spChg>
        <pc:spChg chg="mod">
          <ac:chgData name="TOMIDA, Rei" userId="932807cb-e20e-4938-a276-88bbf4cb8e42" providerId="ADAL" clId="{EB3E8DCF-D5FF-495E-9EFD-3C52631232AD}" dt="2024-02-09T05:27:17.586" v="402" actId="20577"/>
          <ac:spMkLst>
            <pc:docMk/>
            <pc:sldMk cId="2790333214" sldId="4025"/>
            <ac:spMk id="47" creationId="{2B09E3FB-FE02-E8B2-B9B3-D5E0A5CD736F}"/>
          </ac:spMkLst>
        </pc:spChg>
      </pc:sldChg>
      <pc:sldChg chg="addSp delSp modSp mod">
        <pc:chgData name="TOMIDA, Rei" userId="932807cb-e20e-4938-a276-88bbf4cb8e42" providerId="ADAL" clId="{EB3E8DCF-D5FF-495E-9EFD-3C52631232AD}" dt="2024-02-09T06:25:29.089" v="1551"/>
        <pc:sldMkLst>
          <pc:docMk/>
          <pc:sldMk cId="1281323083" sldId="6870"/>
        </pc:sldMkLst>
        <pc:spChg chg="mod">
          <ac:chgData name="TOMIDA, Rei" userId="932807cb-e20e-4938-a276-88bbf4cb8e42" providerId="ADAL" clId="{EB3E8DCF-D5FF-495E-9EFD-3C52631232AD}" dt="2024-02-09T05:24:45.657" v="334" actId="20577"/>
          <ac:spMkLst>
            <pc:docMk/>
            <pc:sldMk cId="1281323083" sldId="6870"/>
            <ac:spMk id="3" creationId="{D8F09B92-3AF9-25D1-2DA2-B3C9F0264349}"/>
          </ac:spMkLst>
        </pc:spChg>
        <pc:spChg chg="del">
          <ac:chgData name="TOMIDA, Rei" userId="932807cb-e20e-4938-a276-88bbf4cb8e42" providerId="ADAL" clId="{EB3E8DCF-D5FF-495E-9EFD-3C52631232AD}" dt="2024-02-09T05:59:15.147" v="1276" actId="478"/>
          <ac:spMkLst>
            <pc:docMk/>
            <pc:sldMk cId="1281323083" sldId="6870"/>
            <ac:spMk id="4" creationId="{994B316C-25D1-9442-2158-5A287CAFCC96}"/>
          </ac:spMkLst>
        </pc:spChg>
        <pc:spChg chg="del mod">
          <ac:chgData name="TOMIDA, Rei" userId="932807cb-e20e-4938-a276-88bbf4cb8e42" providerId="ADAL" clId="{EB3E8DCF-D5FF-495E-9EFD-3C52631232AD}" dt="2024-02-09T05:32:55.410" v="602" actId="478"/>
          <ac:spMkLst>
            <pc:docMk/>
            <pc:sldMk cId="1281323083" sldId="6870"/>
            <ac:spMk id="5" creationId="{EB682607-019B-18B9-015B-BD79FA27650C}"/>
          </ac:spMkLst>
        </pc:spChg>
        <pc:spChg chg="add del mod">
          <ac:chgData name="TOMIDA, Rei" userId="932807cb-e20e-4938-a276-88bbf4cb8e42" providerId="ADAL" clId="{EB3E8DCF-D5FF-495E-9EFD-3C52631232AD}" dt="2024-02-09T05:32:26.363" v="598" actId="478"/>
          <ac:spMkLst>
            <pc:docMk/>
            <pc:sldMk cId="1281323083" sldId="6870"/>
            <ac:spMk id="6" creationId="{1C070EF1-1DA8-3ECE-8C80-79D970962F24}"/>
          </ac:spMkLst>
        </pc:spChg>
        <pc:spChg chg="add mod">
          <ac:chgData name="TOMIDA, Rei" userId="932807cb-e20e-4938-a276-88bbf4cb8e42" providerId="ADAL" clId="{EB3E8DCF-D5FF-495E-9EFD-3C52631232AD}" dt="2024-02-09T05:32:51.678" v="601"/>
          <ac:spMkLst>
            <pc:docMk/>
            <pc:sldMk cId="1281323083" sldId="6870"/>
            <ac:spMk id="9" creationId="{4E2744EF-FA9F-AC1A-A2E7-047E54CD32E1}"/>
          </ac:spMkLst>
        </pc:spChg>
        <pc:spChg chg="add del mod">
          <ac:chgData name="TOMIDA, Rei" userId="932807cb-e20e-4938-a276-88bbf4cb8e42" providerId="ADAL" clId="{EB3E8DCF-D5FF-495E-9EFD-3C52631232AD}" dt="2024-02-09T05:33:02.714" v="603" actId="478"/>
          <ac:spMkLst>
            <pc:docMk/>
            <pc:sldMk cId="1281323083" sldId="6870"/>
            <ac:spMk id="11" creationId="{67AA4120-CAB9-7944-1168-3E5E544C1F15}"/>
          </ac:spMkLst>
        </pc:spChg>
        <pc:spChg chg="add mod">
          <ac:chgData name="TOMIDA, Rei" userId="932807cb-e20e-4938-a276-88bbf4cb8e42" providerId="ADAL" clId="{EB3E8DCF-D5FF-495E-9EFD-3C52631232AD}" dt="2024-02-09T06:25:29.089" v="1551"/>
          <ac:spMkLst>
            <pc:docMk/>
            <pc:sldMk cId="1281323083" sldId="6870"/>
            <ac:spMk id="12" creationId="{04D5F0AB-B4B5-0C18-7A1F-473D346A53EE}"/>
          </ac:spMkLst>
        </pc:spChg>
        <pc:picChg chg="mod">
          <ac:chgData name="TOMIDA, Rei" userId="932807cb-e20e-4938-a276-88bbf4cb8e42" providerId="ADAL" clId="{EB3E8DCF-D5FF-495E-9EFD-3C52631232AD}" dt="2024-02-09T06:12:33.440" v="1417" actId="1035"/>
          <ac:picMkLst>
            <pc:docMk/>
            <pc:sldMk cId="1281323083" sldId="6870"/>
            <ac:picMk id="8" creationId="{F8C874A9-1BB4-CE03-948E-F6E7E792DAE7}"/>
          </ac:picMkLst>
        </pc:picChg>
      </pc:sldChg>
      <pc:sldChg chg="addSp delSp modSp mod">
        <pc:chgData name="TOMIDA, Rei" userId="932807cb-e20e-4938-a276-88bbf4cb8e42" providerId="ADAL" clId="{EB3E8DCF-D5FF-495E-9EFD-3C52631232AD}" dt="2024-02-09T06:25:29.089" v="1551"/>
        <pc:sldMkLst>
          <pc:docMk/>
          <pc:sldMk cId="2392137045" sldId="6872"/>
        </pc:sldMkLst>
        <pc:spChg chg="add del mod">
          <ac:chgData name="TOMIDA, Rei" userId="932807cb-e20e-4938-a276-88bbf4cb8e42" providerId="ADAL" clId="{EB3E8DCF-D5FF-495E-9EFD-3C52631232AD}" dt="2024-02-09T05:33:15.244" v="605"/>
          <ac:spMkLst>
            <pc:docMk/>
            <pc:sldMk cId="2392137045" sldId="6872"/>
            <ac:spMk id="2" creationId="{2B1EC5A6-992A-12F2-EC08-AC3A0172A638}"/>
          </ac:spMkLst>
        </pc:spChg>
        <pc:spChg chg="add mod">
          <ac:chgData name="TOMIDA, Rei" userId="932807cb-e20e-4938-a276-88bbf4cb8e42" providerId="ADAL" clId="{EB3E8DCF-D5FF-495E-9EFD-3C52631232AD}" dt="2024-02-09T05:33:30.785" v="608"/>
          <ac:spMkLst>
            <pc:docMk/>
            <pc:sldMk cId="2392137045" sldId="6872"/>
            <ac:spMk id="3" creationId="{F9FA749A-F6A4-F779-B7CA-77D41025B81A}"/>
          </ac:spMkLst>
        </pc:spChg>
        <pc:spChg chg="del">
          <ac:chgData name="TOMIDA, Rei" userId="932807cb-e20e-4938-a276-88bbf4cb8e42" providerId="ADAL" clId="{EB3E8DCF-D5FF-495E-9EFD-3C52631232AD}" dt="2024-02-09T05:59:21.086" v="1278" actId="478"/>
          <ac:spMkLst>
            <pc:docMk/>
            <pc:sldMk cId="2392137045" sldId="6872"/>
            <ac:spMk id="4" creationId="{994B316C-25D1-9442-2158-5A287CAFCC96}"/>
          </ac:spMkLst>
        </pc:spChg>
        <pc:spChg chg="del mod">
          <ac:chgData name="TOMIDA, Rei" userId="932807cb-e20e-4938-a276-88bbf4cb8e42" providerId="ADAL" clId="{EB3E8DCF-D5FF-495E-9EFD-3C52631232AD}" dt="2024-02-09T05:33:33.943" v="609" actId="478"/>
          <ac:spMkLst>
            <pc:docMk/>
            <pc:sldMk cId="2392137045" sldId="6872"/>
            <ac:spMk id="5" creationId="{EB682607-019B-18B9-015B-BD79FA27650C}"/>
          </ac:spMkLst>
        </pc:spChg>
        <pc:spChg chg="add del mod">
          <ac:chgData name="TOMIDA, Rei" userId="932807cb-e20e-4938-a276-88bbf4cb8e42" providerId="ADAL" clId="{EB3E8DCF-D5FF-495E-9EFD-3C52631232AD}" dt="2024-02-09T05:33:37.012" v="610" actId="478"/>
          <ac:spMkLst>
            <pc:docMk/>
            <pc:sldMk cId="2392137045" sldId="6872"/>
            <ac:spMk id="7" creationId="{AE594F72-8C0E-FEAA-B902-F8FFA3B37D35}"/>
          </ac:spMkLst>
        </pc:spChg>
        <pc:spChg chg="add mod">
          <ac:chgData name="TOMIDA, Rei" userId="932807cb-e20e-4938-a276-88bbf4cb8e42" providerId="ADAL" clId="{EB3E8DCF-D5FF-495E-9EFD-3C52631232AD}" dt="2024-02-09T06:25:29.089" v="1551"/>
          <ac:spMkLst>
            <pc:docMk/>
            <pc:sldMk cId="2392137045" sldId="6872"/>
            <ac:spMk id="8" creationId="{1CD00924-17A9-5638-A396-E86BBAE307CB}"/>
          </ac:spMkLst>
        </pc:spChg>
      </pc:sldChg>
      <pc:sldChg chg="addSp delSp modSp mod">
        <pc:chgData name="TOMIDA, Rei" userId="932807cb-e20e-4938-a276-88bbf4cb8e42" providerId="ADAL" clId="{EB3E8DCF-D5FF-495E-9EFD-3C52631232AD}" dt="2024-02-09T06:25:29.089" v="1551"/>
        <pc:sldMkLst>
          <pc:docMk/>
          <pc:sldMk cId="1588855608" sldId="6876"/>
        </pc:sldMkLst>
        <pc:spChg chg="add del mod">
          <ac:chgData name="TOMIDA, Rei" userId="932807cb-e20e-4938-a276-88bbf4cb8e42" providerId="ADAL" clId="{EB3E8DCF-D5FF-495E-9EFD-3C52631232AD}" dt="2024-02-09T05:33:50.812" v="613" actId="478"/>
          <ac:spMkLst>
            <pc:docMk/>
            <pc:sldMk cId="1588855608" sldId="6876"/>
            <ac:spMk id="2" creationId="{61B27096-886F-5A8A-7942-300B1E0FB0BB}"/>
          </ac:spMkLst>
        </pc:spChg>
        <pc:spChg chg="add mod">
          <ac:chgData name="TOMIDA, Rei" userId="932807cb-e20e-4938-a276-88bbf4cb8e42" providerId="ADAL" clId="{EB3E8DCF-D5FF-495E-9EFD-3C52631232AD}" dt="2024-02-09T05:34:05.028" v="616"/>
          <ac:spMkLst>
            <pc:docMk/>
            <pc:sldMk cId="1588855608" sldId="6876"/>
            <ac:spMk id="3" creationId="{3FF8D713-74DB-37F5-171D-50DAE77194B3}"/>
          </ac:spMkLst>
        </pc:spChg>
        <pc:spChg chg="del mod">
          <ac:chgData name="TOMIDA, Rei" userId="932807cb-e20e-4938-a276-88bbf4cb8e42" providerId="ADAL" clId="{EB3E8DCF-D5FF-495E-9EFD-3C52631232AD}" dt="2024-02-09T05:34:07.655" v="617" actId="478"/>
          <ac:spMkLst>
            <pc:docMk/>
            <pc:sldMk cId="1588855608" sldId="6876"/>
            <ac:spMk id="5" creationId="{EB682607-019B-18B9-015B-BD79FA27650C}"/>
          </ac:spMkLst>
        </pc:spChg>
        <pc:spChg chg="del">
          <ac:chgData name="TOMIDA, Rei" userId="932807cb-e20e-4938-a276-88bbf4cb8e42" providerId="ADAL" clId="{EB3E8DCF-D5FF-495E-9EFD-3C52631232AD}" dt="2024-02-09T05:59:27.672" v="1280" actId="478"/>
          <ac:spMkLst>
            <pc:docMk/>
            <pc:sldMk cId="1588855608" sldId="6876"/>
            <ac:spMk id="7" creationId="{75CA97C8-915E-C306-703E-05B96284AE04}"/>
          </ac:spMkLst>
        </pc:spChg>
        <pc:spChg chg="add del mod">
          <ac:chgData name="TOMIDA, Rei" userId="932807cb-e20e-4938-a276-88bbf4cb8e42" providerId="ADAL" clId="{EB3E8DCF-D5FF-495E-9EFD-3C52631232AD}" dt="2024-02-09T05:34:11.335" v="618" actId="478"/>
          <ac:spMkLst>
            <pc:docMk/>
            <pc:sldMk cId="1588855608" sldId="6876"/>
            <ac:spMk id="8" creationId="{D96AEB24-D6E1-6A95-C4E9-D9941E022EDF}"/>
          </ac:spMkLst>
        </pc:spChg>
        <pc:spChg chg="del mod">
          <ac:chgData name="TOMIDA, Rei" userId="932807cb-e20e-4938-a276-88bbf4cb8e42" providerId="ADAL" clId="{EB3E8DCF-D5FF-495E-9EFD-3C52631232AD}" dt="2024-02-09T05:43:44.183" v="841" actId="478"/>
          <ac:spMkLst>
            <pc:docMk/>
            <pc:sldMk cId="1588855608" sldId="6876"/>
            <ac:spMk id="10" creationId="{06D27F91-E24F-60A9-CACC-CF7A70F24982}"/>
          </ac:spMkLst>
        </pc:spChg>
        <pc:spChg chg="add mod">
          <ac:chgData name="TOMIDA, Rei" userId="932807cb-e20e-4938-a276-88bbf4cb8e42" providerId="ADAL" clId="{EB3E8DCF-D5FF-495E-9EFD-3C52631232AD}" dt="2024-02-09T05:43:56.534" v="843" actId="6549"/>
          <ac:spMkLst>
            <pc:docMk/>
            <pc:sldMk cId="1588855608" sldId="6876"/>
            <ac:spMk id="13" creationId="{5FBA8B50-DC96-5E08-7558-B57D9C47A9FA}"/>
          </ac:spMkLst>
        </pc:spChg>
        <pc:spChg chg="add del mod">
          <ac:chgData name="TOMIDA, Rei" userId="932807cb-e20e-4938-a276-88bbf4cb8e42" providerId="ADAL" clId="{EB3E8DCF-D5FF-495E-9EFD-3C52631232AD}" dt="2024-02-09T05:47:30.215" v="1086" actId="1036"/>
          <ac:spMkLst>
            <pc:docMk/>
            <pc:sldMk cId="1588855608" sldId="6876"/>
            <ac:spMk id="14" creationId="{5B970CCA-53F5-7D5D-D30F-5F7D14910B08}"/>
          </ac:spMkLst>
        </pc:spChg>
        <pc:spChg chg="add mod">
          <ac:chgData name="TOMIDA, Rei" userId="932807cb-e20e-4938-a276-88bbf4cb8e42" providerId="ADAL" clId="{EB3E8DCF-D5FF-495E-9EFD-3C52631232AD}" dt="2024-02-09T05:54:53.178" v="1188" actId="404"/>
          <ac:spMkLst>
            <pc:docMk/>
            <pc:sldMk cId="1588855608" sldId="6876"/>
            <ac:spMk id="17" creationId="{23E87F80-BA78-73DD-D17B-2B95FA9FC94E}"/>
          </ac:spMkLst>
        </pc:spChg>
        <pc:spChg chg="add mod">
          <ac:chgData name="TOMIDA, Rei" userId="932807cb-e20e-4938-a276-88bbf4cb8e42" providerId="ADAL" clId="{EB3E8DCF-D5FF-495E-9EFD-3C52631232AD}" dt="2024-02-09T06:25:29.089" v="1551"/>
          <ac:spMkLst>
            <pc:docMk/>
            <pc:sldMk cId="1588855608" sldId="6876"/>
            <ac:spMk id="18" creationId="{E54F2E8D-8FAF-729B-103B-EBB74B7CCFA1}"/>
          </ac:spMkLst>
        </pc:spChg>
        <pc:graphicFrameChg chg="del mod">
          <ac:chgData name="TOMIDA, Rei" userId="932807cb-e20e-4938-a276-88bbf4cb8e42" providerId="ADAL" clId="{EB3E8DCF-D5FF-495E-9EFD-3C52631232AD}" dt="2024-02-09T05:46:01.559" v="977" actId="478"/>
          <ac:graphicFrameMkLst>
            <pc:docMk/>
            <pc:sldMk cId="1588855608" sldId="6876"/>
            <ac:graphicFrameMk id="9" creationId="{78290EF3-A8D1-83BE-48A7-163D42B697BE}"/>
          </ac:graphicFrameMkLst>
        </pc:graphicFrameChg>
        <pc:picChg chg="del">
          <ac:chgData name="TOMIDA, Rei" userId="932807cb-e20e-4938-a276-88bbf4cb8e42" providerId="ADAL" clId="{EB3E8DCF-D5FF-495E-9EFD-3C52631232AD}" dt="2024-02-09T05:43:01.288" v="833" actId="478"/>
          <ac:picMkLst>
            <pc:docMk/>
            <pc:sldMk cId="1588855608" sldId="6876"/>
            <ac:picMk id="4" creationId="{30A4E0C4-025C-4059-0A20-0134441058BF}"/>
          </ac:picMkLst>
        </pc:picChg>
        <pc:picChg chg="add mod">
          <ac:chgData name="TOMIDA, Rei" userId="932807cb-e20e-4938-a276-88bbf4cb8e42" providerId="ADAL" clId="{EB3E8DCF-D5FF-495E-9EFD-3C52631232AD}" dt="2024-02-09T05:47:08.585" v="1024" actId="1036"/>
          <ac:picMkLst>
            <pc:docMk/>
            <pc:sldMk cId="1588855608" sldId="6876"/>
            <ac:picMk id="12" creationId="{FBD4E6BB-2C2E-A8CE-767E-B8B04E1EB13B}"/>
          </ac:picMkLst>
        </pc:picChg>
        <pc:picChg chg="add mod">
          <ac:chgData name="TOMIDA, Rei" userId="932807cb-e20e-4938-a276-88bbf4cb8e42" providerId="ADAL" clId="{EB3E8DCF-D5FF-495E-9EFD-3C52631232AD}" dt="2024-02-09T05:54:44.466" v="1185" actId="1037"/>
          <ac:picMkLst>
            <pc:docMk/>
            <pc:sldMk cId="1588855608" sldId="6876"/>
            <ac:picMk id="16" creationId="{22FEDF30-A694-4412-B72F-38A97C0BD28F}"/>
          </ac:picMkLst>
        </pc:picChg>
      </pc:sldChg>
      <pc:sldChg chg="del">
        <pc:chgData name="TOMIDA, Rei" userId="932807cb-e20e-4938-a276-88bbf4cb8e42" providerId="ADAL" clId="{EB3E8DCF-D5FF-495E-9EFD-3C52631232AD}" dt="2024-02-09T05:16:09.793" v="131" actId="47"/>
        <pc:sldMkLst>
          <pc:docMk/>
          <pc:sldMk cId="3693191013" sldId="6884"/>
        </pc:sldMkLst>
      </pc:sldChg>
      <pc:sldChg chg="addSp delSp modSp mod">
        <pc:chgData name="TOMIDA, Rei" userId="932807cb-e20e-4938-a276-88bbf4cb8e42" providerId="ADAL" clId="{EB3E8DCF-D5FF-495E-9EFD-3C52631232AD}" dt="2024-02-09T06:25:29.089" v="1551"/>
        <pc:sldMkLst>
          <pc:docMk/>
          <pc:sldMk cId="2827633507" sldId="6885"/>
        </pc:sldMkLst>
        <pc:spChg chg="del">
          <ac:chgData name="TOMIDA, Rei" userId="932807cb-e20e-4938-a276-88bbf4cb8e42" providerId="ADAL" clId="{EB3E8DCF-D5FF-495E-9EFD-3C52631232AD}" dt="2024-02-09T05:59:07.340" v="1274" actId="478"/>
          <ac:spMkLst>
            <pc:docMk/>
            <pc:sldMk cId="2827633507" sldId="6885"/>
            <ac:spMk id="2" creationId="{E2CD4952-87BC-15D3-87CA-396E2CFC0229}"/>
          </ac:spMkLst>
        </pc:spChg>
        <pc:spChg chg="mod">
          <ac:chgData name="TOMIDA, Rei" userId="932807cb-e20e-4938-a276-88bbf4cb8e42" providerId="ADAL" clId="{EB3E8DCF-D5FF-495E-9EFD-3C52631232AD}" dt="2024-02-09T06:25:29.089" v="1551"/>
          <ac:spMkLst>
            <pc:docMk/>
            <pc:sldMk cId="2827633507" sldId="6885"/>
            <ac:spMk id="3" creationId="{0895D35A-E002-DCE3-877A-0D312BE196C1}"/>
          </ac:spMkLst>
        </pc:spChg>
        <pc:spChg chg="del mod">
          <ac:chgData name="TOMIDA, Rei" userId="932807cb-e20e-4938-a276-88bbf4cb8e42" providerId="ADAL" clId="{EB3E8DCF-D5FF-495E-9EFD-3C52631232AD}" dt="2024-02-09T05:31:35.540" v="509" actId="478"/>
          <ac:spMkLst>
            <pc:docMk/>
            <pc:sldMk cId="2827633507" sldId="6885"/>
            <ac:spMk id="4" creationId="{E887E44E-8B7B-ACEF-7CE0-2B51312F56EC}"/>
          </ac:spMkLst>
        </pc:spChg>
        <pc:spChg chg="add del mod">
          <ac:chgData name="TOMIDA, Rei" userId="932807cb-e20e-4938-a276-88bbf4cb8e42" providerId="ADAL" clId="{EB3E8DCF-D5FF-495E-9EFD-3C52631232AD}" dt="2024-02-09T05:30:23.994" v="468" actId="478"/>
          <ac:spMkLst>
            <pc:docMk/>
            <pc:sldMk cId="2827633507" sldId="6885"/>
            <ac:spMk id="5" creationId="{8C8FA7AD-63CA-0CE5-3771-214751A4B12C}"/>
          </ac:spMkLst>
        </pc:spChg>
        <pc:spChg chg="add mod">
          <ac:chgData name="TOMIDA, Rei" userId="932807cb-e20e-4938-a276-88bbf4cb8e42" providerId="ADAL" clId="{EB3E8DCF-D5FF-495E-9EFD-3C52631232AD}" dt="2024-02-09T05:31:32.439" v="508"/>
          <ac:spMkLst>
            <pc:docMk/>
            <pc:sldMk cId="2827633507" sldId="6885"/>
            <ac:spMk id="6" creationId="{D8134B93-F848-6D5B-493E-5BEE77608B50}"/>
          </ac:spMkLst>
        </pc:spChg>
        <pc:spChg chg="add del mod">
          <ac:chgData name="TOMIDA, Rei" userId="932807cb-e20e-4938-a276-88bbf4cb8e42" providerId="ADAL" clId="{EB3E8DCF-D5FF-495E-9EFD-3C52631232AD}" dt="2024-02-09T05:31:37.925" v="510" actId="478"/>
          <ac:spMkLst>
            <pc:docMk/>
            <pc:sldMk cId="2827633507" sldId="6885"/>
            <ac:spMk id="8" creationId="{2BB1A44F-C0F9-B3C0-BDF5-9957DCBD454B}"/>
          </ac:spMkLst>
        </pc:spChg>
        <pc:spChg chg="add mod">
          <ac:chgData name="TOMIDA, Rei" userId="932807cb-e20e-4938-a276-88bbf4cb8e42" providerId="ADAL" clId="{EB3E8DCF-D5FF-495E-9EFD-3C52631232AD}" dt="2024-02-09T06:25:29.089" v="1551"/>
          <ac:spMkLst>
            <pc:docMk/>
            <pc:sldMk cId="2827633507" sldId="6885"/>
            <ac:spMk id="9" creationId="{1FE3C970-8984-EE3F-9E17-E13A13AFB8D7}"/>
          </ac:spMkLst>
        </pc:spChg>
      </pc:sldChg>
      <pc:sldChg chg="del">
        <pc:chgData name="TOMIDA, Rei" userId="932807cb-e20e-4938-a276-88bbf4cb8e42" providerId="ADAL" clId="{EB3E8DCF-D5FF-495E-9EFD-3C52631232AD}" dt="2024-02-09T05:18:33.180" v="132" actId="47"/>
        <pc:sldMkLst>
          <pc:docMk/>
          <pc:sldMk cId="967519892" sldId="6886"/>
        </pc:sldMkLst>
      </pc:sldChg>
      <pc:sldChg chg="addSp delSp modSp mod">
        <pc:chgData name="TOMIDA, Rei" userId="932807cb-e20e-4938-a276-88bbf4cb8e42" providerId="ADAL" clId="{EB3E8DCF-D5FF-495E-9EFD-3C52631232AD}" dt="2024-02-09T06:25:29.089" v="1551"/>
        <pc:sldMkLst>
          <pc:docMk/>
          <pc:sldMk cId="385883344" sldId="6889"/>
        </pc:sldMkLst>
        <pc:spChg chg="add del mod">
          <ac:chgData name="TOMIDA, Rei" userId="932807cb-e20e-4938-a276-88bbf4cb8e42" providerId="ADAL" clId="{EB3E8DCF-D5FF-495E-9EFD-3C52631232AD}" dt="2024-02-09T05:34:26.288" v="623" actId="478"/>
          <ac:spMkLst>
            <pc:docMk/>
            <pc:sldMk cId="385883344" sldId="6889"/>
            <ac:spMk id="2" creationId="{8FB32264-2D36-285B-37F8-D87D9C330C64}"/>
          </ac:spMkLst>
        </pc:spChg>
        <pc:spChg chg="add mod">
          <ac:chgData name="TOMIDA, Rei" userId="932807cb-e20e-4938-a276-88bbf4cb8e42" providerId="ADAL" clId="{EB3E8DCF-D5FF-495E-9EFD-3C52631232AD}" dt="2024-02-09T05:34:47.803" v="681"/>
          <ac:spMkLst>
            <pc:docMk/>
            <pc:sldMk cId="385883344" sldId="6889"/>
            <ac:spMk id="4" creationId="{4F5951FD-9E6C-B583-7DC1-EAD58275A0B2}"/>
          </ac:spMkLst>
        </pc:spChg>
        <pc:spChg chg="del mod">
          <ac:chgData name="TOMIDA, Rei" userId="932807cb-e20e-4938-a276-88bbf4cb8e42" providerId="ADAL" clId="{EB3E8DCF-D5FF-495E-9EFD-3C52631232AD}" dt="2024-02-09T05:34:52.559" v="682" actId="478"/>
          <ac:spMkLst>
            <pc:docMk/>
            <pc:sldMk cId="385883344" sldId="6889"/>
            <ac:spMk id="5" creationId="{EB682607-019B-18B9-015B-BD79FA27650C}"/>
          </ac:spMkLst>
        </pc:spChg>
        <pc:spChg chg="del">
          <ac:chgData name="TOMIDA, Rei" userId="932807cb-e20e-4938-a276-88bbf4cb8e42" providerId="ADAL" clId="{EB3E8DCF-D5FF-495E-9EFD-3C52631232AD}" dt="2024-02-09T05:59:34.593" v="1282" actId="478"/>
          <ac:spMkLst>
            <pc:docMk/>
            <pc:sldMk cId="385883344" sldId="6889"/>
            <ac:spMk id="7" creationId="{75CA97C8-915E-C306-703E-05B96284AE04}"/>
          </ac:spMkLst>
        </pc:spChg>
        <pc:spChg chg="add del mod">
          <ac:chgData name="TOMIDA, Rei" userId="932807cb-e20e-4938-a276-88bbf4cb8e42" providerId="ADAL" clId="{EB3E8DCF-D5FF-495E-9EFD-3C52631232AD}" dt="2024-02-09T05:38:52.648" v="793" actId="478"/>
          <ac:spMkLst>
            <pc:docMk/>
            <pc:sldMk cId="385883344" sldId="6889"/>
            <ac:spMk id="8" creationId="{4F3F0695-6338-3210-B510-759ECF28380E}"/>
          </ac:spMkLst>
        </pc:spChg>
        <pc:spChg chg="add mod">
          <ac:chgData name="TOMIDA, Rei" userId="932807cb-e20e-4938-a276-88bbf4cb8e42" providerId="ADAL" clId="{EB3E8DCF-D5FF-495E-9EFD-3C52631232AD}" dt="2024-02-09T06:25:29.089" v="1551"/>
          <ac:spMkLst>
            <pc:docMk/>
            <pc:sldMk cId="385883344" sldId="6889"/>
            <ac:spMk id="9" creationId="{F3CF89CA-EFBD-0C5C-9E07-CE801B25844D}"/>
          </ac:spMkLst>
        </pc:spChg>
        <pc:graphicFrameChg chg="mod modGraphic">
          <ac:chgData name="TOMIDA, Rei" userId="932807cb-e20e-4938-a276-88bbf4cb8e42" providerId="ADAL" clId="{EB3E8DCF-D5FF-495E-9EFD-3C52631232AD}" dt="2024-02-09T05:38:46.759" v="792"/>
          <ac:graphicFrameMkLst>
            <pc:docMk/>
            <pc:sldMk cId="385883344" sldId="6889"/>
            <ac:graphicFrameMk id="3" creationId="{5B123E12-735E-BBBC-CCD8-7818C994CADA}"/>
          </ac:graphicFrameMkLst>
        </pc:graphicFrameChg>
      </pc:sldChg>
      <pc:sldChg chg="del">
        <pc:chgData name="TOMIDA, Rei" userId="932807cb-e20e-4938-a276-88bbf4cb8e42" providerId="ADAL" clId="{EB3E8DCF-D5FF-495E-9EFD-3C52631232AD}" dt="2024-02-09T05:57:04.364" v="1207" actId="47"/>
        <pc:sldMkLst>
          <pc:docMk/>
          <pc:sldMk cId="4253619754" sldId="2007579872"/>
        </pc:sldMkLst>
      </pc:sldChg>
      <pc:sldChg chg="del">
        <pc:chgData name="TOMIDA, Rei" userId="932807cb-e20e-4938-a276-88bbf4cb8e42" providerId="ADAL" clId="{EB3E8DCF-D5FF-495E-9EFD-3C52631232AD}" dt="2024-02-09T05:57:05.193" v="1208" actId="47"/>
        <pc:sldMkLst>
          <pc:docMk/>
          <pc:sldMk cId="2752606433" sldId="2007579873"/>
        </pc:sldMkLst>
      </pc:sldChg>
      <pc:sldChg chg="modSp del mod">
        <pc:chgData name="TOMIDA, Rei" userId="932807cb-e20e-4938-a276-88bbf4cb8e42" providerId="ADAL" clId="{EB3E8DCF-D5FF-495E-9EFD-3C52631232AD}" dt="2024-02-09T05:50:33.934" v="1177" actId="47"/>
        <pc:sldMkLst>
          <pc:docMk/>
          <pc:sldMk cId="2660567640" sldId="2007579874"/>
        </pc:sldMkLst>
        <pc:spChg chg="mod">
          <ac:chgData name="TOMIDA, Rei" userId="932807cb-e20e-4938-a276-88bbf4cb8e42" providerId="ADAL" clId="{EB3E8DCF-D5FF-495E-9EFD-3C52631232AD}" dt="2024-02-09T05:37:08.123" v="787" actId="20577"/>
          <ac:spMkLst>
            <pc:docMk/>
            <pc:sldMk cId="2660567640" sldId="2007579874"/>
            <ac:spMk id="4" creationId="{7A1539A8-3A4B-53CB-3229-DA4B57E04679}"/>
          </ac:spMkLst>
        </pc:spChg>
      </pc:sldChg>
      <pc:sldChg chg="del">
        <pc:chgData name="TOMIDA, Rei" userId="932807cb-e20e-4938-a276-88bbf4cb8e42" providerId="ADAL" clId="{EB3E8DCF-D5FF-495E-9EFD-3C52631232AD}" dt="2024-02-09T05:40:17.218" v="802" actId="47"/>
        <pc:sldMkLst>
          <pc:docMk/>
          <pc:sldMk cId="819630286" sldId="2007579875"/>
        </pc:sldMkLst>
      </pc:sldChg>
      <pc:sldChg chg="del">
        <pc:chgData name="TOMIDA, Rei" userId="932807cb-e20e-4938-a276-88bbf4cb8e42" providerId="ADAL" clId="{EB3E8DCF-D5FF-495E-9EFD-3C52631232AD}" dt="2024-02-09T05:56:22.413" v="1192" actId="47"/>
        <pc:sldMkLst>
          <pc:docMk/>
          <pc:sldMk cId="713039009" sldId="2007579876"/>
        </pc:sldMkLst>
      </pc:sldChg>
      <pc:sldChg chg="del">
        <pc:chgData name="TOMIDA, Rei" userId="932807cb-e20e-4938-a276-88bbf4cb8e42" providerId="ADAL" clId="{EB3E8DCF-D5FF-495E-9EFD-3C52631232AD}" dt="2024-02-09T05:56:22.754" v="1193" actId="47"/>
        <pc:sldMkLst>
          <pc:docMk/>
          <pc:sldMk cId="3933397843" sldId="2007579877"/>
        </pc:sldMkLst>
      </pc:sldChg>
      <pc:sldChg chg="del">
        <pc:chgData name="TOMIDA, Rei" userId="932807cb-e20e-4938-a276-88bbf4cb8e42" providerId="ADAL" clId="{EB3E8DCF-D5FF-495E-9EFD-3C52631232AD}" dt="2024-02-09T05:57:07.614" v="1210" actId="47"/>
        <pc:sldMkLst>
          <pc:docMk/>
          <pc:sldMk cId="4026511412" sldId="2007579878"/>
        </pc:sldMkLst>
      </pc:sldChg>
      <pc:sldChg chg="del">
        <pc:chgData name="TOMIDA, Rei" userId="932807cb-e20e-4938-a276-88bbf4cb8e42" providerId="ADAL" clId="{EB3E8DCF-D5FF-495E-9EFD-3C52631232AD}" dt="2024-02-09T05:57:03.681" v="1206" actId="47"/>
        <pc:sldMkLst>
          <pc:docMk/>
          <pc:sldMk cId="527117705" sldId="2007579879"/>
        </pc:sldMkLst>
      </pc:sldChg>
      <pc:sldChg chg="addSp delSp modSp del mod modShow">
        <pc:chgData name="TOMIDA, Rei" userId="932807cb-e20e-4938-a276-88bbf4cb8e42" providerId="ADAL" clId="{EB3E8DCF-D5FF-495E-9EFD-3C52631232AD}" dt="2024-02-09T05:41:23.355" v="832" actId="47"/>
        <pc:sldMkLst>
          <pc:docMk/>
          <pc:sldMk cId="4274229568" sldId="2007579880"/>
        </pc:sldMkLst>
        <pc:spChg chg="mod">
          <ac:chgData name="TOMIDA, Rei" userId="932807cb-e20e-4938-a276-88bbf4cb8e42" providerId="ADAL" clId="{EB3E8DCF-D5FF-495E-9EFD-3C52631232AD}" dt="2024-02-09T05:19:32.731" v="134"/>
          <ac:spMkLst>
            <pc:docMk/>
            <pc:sldMk cId="4274229568" sldId="2007579880"/>
            <ac:spMk id="3" creationId="{CB26FFEF-E14F-ED7E-8D90-7AFA9F0A73CC}"/>
          </ac:spMkLst>
        </pc:spChg>
        <pc:spChg chg="add mod">
          <ac:chgData name="TOMIDA, Rei" userId="932807cb-e20e-4938-a276-88bbf4cb8e42" providerId="ADAL" clId="{EB3E8DCF-D5FF-495E-9EFD-3C52631232AD}" dt="2024-02-09T05:32:10.084" v="594"/>
          <ac:spMkLst>
            <pc:docMk/>
            <pc:sldMk cId="4274229568" sldId="2007579880"/>
            <ac:spMk id="4" creationId="{C2E5A5E3-6FA7-ACB7-89E6-7D68E9964001}"/>
          </ac:spMkLst>
        </pc:spChg>
        <pc:spChg chg="del mod">
          <ac:chgData name="TOMIDA, Rei" userId="932807cb-e20e-4938-a276-88bbf4cb8e42" providerId="ADAL" clId="{EB3E8DCF-D5FF-495E-9EFD-3C52631232AD}" dt="2024-02-09T05:32:12.883" v="595" actId="478"/>
          <ac:spMkLst>
            <pc:docMk/>
            <pc:sldMk cId="4274229568" sldId="2007579880"/>
            <ac:spMk id="8" creationId="{B44FFD16-E9CE-B7F0-27F9-0902373E207C}"/>
          </ac:spMkLst>
        </pc:spChg>
        <pc:spChg chg="add del mod">
          <ac:chgData name="TOMIDA, Rei" userId="932807cb-e20e-4938-a276-88bbf4cb8e42" providerId="ADAL" clId="{EB3E8DCF-D5FF-495E-9EFD-3C52631232AD}" dt="2024-02-09T05:32:15.838" v="596" actId="478"/>
          <ac:spMkLst>
            <pc:docMk/>
            <pc:sldMk cId="4274229568" sldId="2007579880"/>
            <ac:spMk id="9" creationId="{CAAEF9EE-B2E1-6C31-6396-E77654B31307}"/>
          </ac:spMkLst>
        </pc:spChg>
      </pc:sldChg>
      <pc:sldChg chg="modSp add mod">
        <pc:chgData name="TOMIDA, Rei" userId="932807cb-e20e-4938-a276-88bbf4cb8e42" providerId="ADAL" clId="{EB3E8DCF-D5FF-495E-9EFD-3C52631232AD}" dt="2024-02-09T05:14:59.465" v="124"/>
        <pc:sldMkLst>
          <pc:docMk/>
          <pc:sldMk cId="4130498016" sldId="2007579881"/>
        </pc:sldMkLst>
        <pc:spChg chg="mod">
          <ac:chgData name="TOMIDA, Rei" userId="932807cb-e20e-4938-a276-88bbf4cb8e42" providerId="ADAL" clId="{EB3E8DCF-D5FF-495E-9EFD-3C52631232AD}" dt="2024-02-09T05:14:59.465" v="124"/>
          <ac:spMkLst>
            <pc:docMk/>
            <pc:sldMk cId="4130498016" sldId="2007579881"/>
            <ac:spMk id="5" creationId="{37200EFD-F97D-D86F-AC06-6A1707EB93B3}"/>
          </ac:spMkLst>
        </pc:spChg>
      </pc:sldChg>
      <pc:sldChg chg="modSp add mod ord">
        <pc:chgData name="TOMIDA, Rei" userId="932807cb-e20e-4938-a276-88bbf4cb8e42" providerId="ADAL" clId="{EB3E8DCF-D5FF-495E-9EFD-3C52631232AD}" dt="2024-02-09T06:25:29.089" v="1551"/>
        <pc:sldMkLst>
          <pc:docMk/>
          <pc:sldMk cId="3597667469" sldId="2007579882"/>
        </pc:sldMkLst>
        <pc:spChg chg="mod">
          <ac:chgData name="TOMIDA, Rei" userId="932807cb-e20e-4938-a276-88bbf4cb8e42" providerId="ADAL" clId="{EB3E8DCF-D5FF-495E-9EFD-3C52631232AD}" dt="2024-02-09T06:25:29.089" v="1551"/>
          <ac:spMkLst>
            <pc:docMk/>
            <pc:sldMk cId="3597667469" sldId="2007579882"/>
            <ac:spMk id="3" creationId="{A5F43D7E-010E-C4D4-5838-907A0BE72A2B}"/>
          </ac:spMkLst>
        </pc:spChg>
        <pc:spChg chg="mod">
          <ac:chgData name="TOMIDA, Rei" userId="932807cb-e20e-4938-a276-88bbf4cb8e42" providerId="ADAL" clId="{EB3E8DCF-D5FF-495E-9EFD-3C52631232AD}" dt="2024-02-09T05:57:39.973" v="1227"/>
          <ac:spMkLst>
            <pc:docMk/>
            <pc:sldMk cId="3597667469" sldId="2007579882"/>
            <ac:spMk id="4" creationId="{7A1539A8-3A4B-53CB-3229-DA4B57E04679}"/>
          </ac:spMkLst>
        </pc:spChg>
      </pc:sldChg>
      <pc:sldChg chg="modSp add del mod">
        <pc:chgData name="TOMIDA, Rei" userId="932807cb-e20e-4938-a276-88bbf4cb8e42" providerId="ADAL" clId="{EB3E8DCF-D5FF-495E-9EFD-3C52631232AD}" dt="2024-02-09T05:50:57.174" v="1181" actId="47"/>
        <pc:sldMkLst>
          <pc:docMk/>
          <pc:sldMk cId="1372209373" sldId="2007579883"/>
        </pc:sldMkLst>
        <pc:spChg chg="mod">
          <ac:chgData name="TOMIDA, Rei" userId="932807cb-e20e-4938-a276-88bbf4cb8e42" providerId="ADAL" clId="{EB3E8DCF-D5FF-495E-9EFD-3C52631232AD}" dt="2024-02-09T05:40:31.219" v="804" actId="207"/>
          <ac:spMkLst>
            <pc:docMk/>
            <pc:sldMk cId="1372209373" sldId="2007579883"/>
            <ac:spMk id="4" creationId="{7A1539A8-3A4B-53CB-3229-DA4B57E04679}"/>
          </ac:spMkLst>
        </pc:spChg>
      </pc:sldChg>
      <pc:sldChg chg="modSp add mod">
        <pc:chgData name="TOMIDA, Rei" userId="932807cb-e20e-4938-a276-88bbf4cb8e42" providerId="ADAL" clId="{EB3E8DCF-D5FF-495E-9EFD-3C52631232AD}" dt="2024-02-09T06:25:29.089" v="1551"/>
        <pc:sldMkLst>
          <pc:docMk/>
          <pc:sldMk cId="2466072786" sldId="2007579884"/>
        </pc:sldMkLst>
        <pc:spChg chg="mod">
          <ac:chgData name="TOMIDA, Rei" userId="932807cb-e20e-4938-a276-88bbf4cb8e42" providerId="ADAL" clId="{EB3E8DCF-D5FF-495E-9EFD-3C52631232AD}" dt="2024-02-09T06:25:29.089" v="1551"/>
          <ac:spMkLst>
            <pc:docMk/>
            <pc:sldMk cId="2466072786" sldId="2007579884"/>
            <ac:spMk id="3" creationId="{A5F43D7E-010E-C4D4-5838-907A0BE72A2B}"/>
          </ac:spMkLst>
        </pc:spChg>
        <pc:spChg chg="mod">
          <ac:chgData name="TOMIDA, Rei" userId="932807cb-e20e-4938-a276-88bbf4cb8e42" providerId="ADAL" clId="{EB3E8DCF-D5FF-495E-9EFD-3C52631232AD}" dt="2024-02-09T05:57:47.401" v="1244"/>
          <ac:spMkLst>
            <pc:docMk/>
            <pc:sldMk cId="2466072786" sldId="2007579884"/>
            <ac:spMk id="4" creationId="{7A1539A8-3A4B-53CB-3229-DA4B57E04679}"/>
          </ac:spMkLst>
        </pc:spChg>
      </pc:sldChg>
      <pc:sldChg chg="addSp modSp add mod">
        <pc:chgData name="TOMIDA, Rei" userId="932807cb-e20e-4938-a276-88bbf4cb8e42" providerId="ADAL" clId="{EB3E8DCF-D5FF-495E-9EFD-3C52631232AD}" dt="2024-02-09T06:25:29.089" v="1551"/>
        <pc:sldMkLst>
          <pc:docMk/>
          <pc:sldMk cId="2700119544" sldId="2007579885"/>
        </pc:sldMkLst>
        <pc:spChg chg="mod">
          <ac:chgData name="TOMIDA, Rei" userId="932807cb-e20e-4938-a276-88bbf4cb8e42" providerId="ADAL" clId="{EB3E8DCF-D5FF-495E-9EFD-3C52631232AD}" dt="2024-02-09T06:25:29.089" v="1551"/>
          <ac:spMkLst>
            <pc:docMk/>
            <pc:sldMk cId="2700119544" sldId="2007579885"/>
            <ac:spMk id="3" creationId="{A5F43D7E-010E-C4D4-5838-907A0BE72A2B}"/>
          </ac:spMkLst>
        </pc:spChg>
        <pc:spChg chg="mod">
          <ac:chgData name="TOMIDA, Rei" userId="932807cb-e20e-4938-a276-88bbf4cb8e42" providerId="ADAL" clId="{EB3E8DCF-D5FF-495E-9EFD-3C52631232AD}" dt="2024-02-09T05:58:01.811" v="1262" actId="207"/>
          <ac:spMkLst>
            <pc:docMk/>
            <pc:sldMk cId="2700119544" sldId="2007579885"/>
            <ac:spMk id="4" creationId="{7A1539A8-3A4B-53CB-3229-DA4B57E04679}"/>
          </ac:spMkLst>
        </pc:spChg>
        <pc:spChg chg="add mod">
          <ac:chgData name="TOMIDA, Rei" userId="932807cb-e20e-4938-a276-88bbf4cb8e42" providerId="ADAL" clId="{EB3E8DCF-D5FF-495E-9EFD-3C52631232AD}" dt="2024-02-09T06:25:29.089" v="1551"/>
          <ac:spMkLst>
            <pc:docMk/>
            <pc:sldMk cId="2700119544" sldId="2007579885"/>
            <ac:spMk id="5" creationId="{4420B3D1-8D33-0EBE-8EB2-C24589DF7B69}"/>
          </ac:spMkLst>
        </pc:spChg>
      </pc:sldChg>
      <pc:sldChg chg="addSp delSp modSp add mod">
        <pc:chgData name="TOMIDA, Rei" userId="932807cb-e20e-4938-a276-88bbf4cb8e42" providerId="ADAL" clId="{EB3E8DCF-D5FF-495E-9EFD-3C52631232AD}" dt="2024-02-09T06:25:29.089" v="1551"/>
        <pc:sldMkLst>
          <pc:docMk/>
          <pc:sldMk cId="1835882030" sldId="2007579886"/>
        </pc:sldMkLst>
        <pc:spChg chg="mod">
          <ac:chgData name="TOMIDA, Rei" userId="932807cb-e20e-4938-a276-88bbf4cb8e42" providerId="ADAL" clId="{EB3E8DCF-D5FF-495E-9EFD-3C52631232AD}" dt="2024-02-09T06:25:29.089" v="1551"/>
          <ac:spMkLst>
            <pc:docMk/>
            <pc:sldMk cId="1835882030" sldId="2007579886"/>
            <ac:spMk id="4" creationId="{8CAE00CC-E1B8-99A2-FE8D-16C5A219A479}"/>
          </ac:spMkLst>
        </pc:spChg>
        <pc:spChg chg="del">
          <ac:chgData name="TOMIDA, Rei" userId="932807cb-e20e-4938-a276-88bbf4cb8e42" providerId="ADAL" clId="{EB3E8DCF-D5FF-495E-9EFD-3C52631232AD}" dt="2024-02-09T06:04:07.347" v="1289" actId="478"/>
          <ac:spMkLst>
            <pc:docMk/>
            <pc:sldMk cId="1835882030" sldId="2007579886"/>
            <ac:spMk id="10" creationId="{DE1B33B0-C981-7339-EEEA-45AC4F82A9F4}"/>
          </ac:spMkLst>
        </pc:spChg>
        <pc:spChg chg="del">
          <ac:chgData name="TOMIDA, Rei" userId="932807cb-e20e-4938-a276-88bbf4cb8e42" providerId="ADAL" clId="{EB3E8DCF-D5FF-495E-9EFD-3C52631232AD}" dt="2024-02-09T06:04:10.928" v="1292" actId="478"/>
          <ac:spMkLst>
            <pc:docMk/>
            <pc:sldMk cId="1835882030" sldId="2007579886"/>
            <ac:spMk id="11" creationId="{6F41439B-99B6-184B-1D42-E31A3CAFF5D1}"/>
          </ac:spMkLst>
        </pc:spChg>
        <pc:spChg chg="del">
          <ac:chgData name="TOMIDA, Rei" userId="932807cb-e20e-4938-a276-88bbf4cb8e42" providerId="ADAL" clId="{EB3E8DCF-D5FF-495E-9EFD-3C52631232AD}" dt="2024-02-09T06:04:07.347" v="1289" actId="478"/>
          <ac:spMkLst>
            <pc:docMk/>
            <pc:sldMk cId="1835882030" sldId="2007579886"/>
            <ac:spMk id="14" creationId="{BB937D9D-39A4-925B-DA97-71B750C8B704}"/>
          </ac:spMkLst>
        </pc:spChg>
        <pc:spChg chg="del">
          <ac:chgData name="TOMIDA, Rei" userId="932807cb-e20e-4938-a276-88bbf4cb8e42" providerId="ADAL" clId="{EB3E8DCF-D5FF-495E-9EFD-3C52631232AD}" dt="2024-02-09T06:04:13.542" v="1293" actId="478"/>
          <ac:spMkLst>
            <pc:docMk/>
            <pc:sldMk cId="1835882030" sldId="2007579886"/>
            <ac:spMk id="15" creationId="{B338D988-B293-B8F8-CD59-7EA5D8DBEC7D}"/>
          </ac:spMkLst>
        </pc:spChg>
        <pc:spChg chg="add mod">
          <ac:chgData name="TOMIDA, Rei" userId="932807cb-e20e-4938-a276-88bbf4cb8e42" providerId="ADAL" clId="{EB3E8DCF-D5FF-495E-9EFD-3C52631232AD}" dt="2024-02-09T06:18:04.032" v="1520" actId="20577"/>
          <ac:spMkLst>
            <pc:docMk/>
            <pc:sldMk cId="1835882030" sldId="2007579886"/>
            <ac:spMk id="16" creationId="{01AD0DBB-A67F-44CB-3582-869DDEB4A67A}"/>
          </ac:spMkLst>
        </pc:spChg>
        <pc:picChg chg="add mod">
          <ac:chgData name="TOMIDA, Rei" userId="932807cb-e20e-4938-a276-88bbf4cb8e42" providerId="ADAL" clId="{EB3E8DCF-D5FF-495E-9EFD-3C52631232AD}" dt="2024-02-09T06:18:19.968" v="1522" actId="1035"/>
          <ac:picMkLst>
            <pc:docMk/>
            <pc:sldMk cId="1835882030" sldId="2007579886"/>
            <ac:picMk id="5" creationId="{D20A5C47-7C16-6BD9-356C-4E4FD355B11C}"/>
          </ac:picMkLst>
        </pc:picChg>
        <pc:picChg chg="del">
          <ac:chgData name="TOMIDA, Rei" userId="932807cb-e20e-4938-a276-88bbf4cb8e42" providerId="ADAL" clId="{EB3E8DCF-D5FF-495E-9EFD-3C52631232AD}" dt="2024-02-09T06:04:08.204" v="1290" actId="478"/>
          <ac:picMkLst>
            <pc:docMk/>
            <pc:sldMk cId="1835882030" sldId="2007579886"/>
            <ac:picMk id="6" creationId="{DD3DC0E8-3B03-F4C6-CE55-89D7E20A0BAB}"/>
          </ac:picMkLst>
        </pc:picChg>
        <pc:picChg chg="add del mod">
          <ac:chgData name="TOMIDA, Rei" userId="932807cb-e20e-4938-a276-88bbf4cb8e42" providerId="ADAL" clId="{EB3E8DCF-D5FF-495E-9EFD-3C52631232AD}" dt="2024-02-09T06:06:56.809" v="1301" actId="478"/>
          <ac:picMkLst>
            <pc:docMk/>
            <pc:sldMk cId="1835882030" sldId="2007579886"/>
            <ac:picMk id="8" creationId="{09C49585-7C23-E3C1-6842-8C479174FBD3}"/>
          </ac:picMkLst>
        </pc:picChg>
        <pc:picChg chg="del">
          <ac:chgData name="TOMIDA, Rei" userId="932807cb-e20e-4938-a276-88bbf4cb8e42" providerId="ADAL" clId="{EB3E8DCF-D5FF-495E-9EFD-3C52631232AD}" dt="2024-02-09T06:04:08.869" v="1291" actId="478"/>
          <ac:picMkLst>
            <pc:docMk/>
            <pc:sldMk cId="1835882030" sldId="2007579886"/>
            <ac:picMk id="9" creationId="{F69668AA-7304-6876-CB6E-6DAC4C0B3294}"/>
          </ac:picMkLst>
        </pc:picChg>
        <pc:picChg chg="add mod">
          <ac:chgData name="TOMIDA, Rei" userId="932807cb-e20e-4938-a276-88bbf4cb8e42" providerId="ADAL" clId="{EB3E8DCF-D5FF-495E-9EFD-3C52631232AD}" dt="2024-02-09T06:17:48.613" v="1515" actId="1038"/>
          <ac:picMkLst>
            <pc:docMk/>
            <pc:sldMk cId="1835882030" sldId="2007579886"/>
            <ac:picMk id="12" creationId="{7F4C1C41-B80C-15C1-C014-22C4031DBC35}"/>
          </ac:picMkLst>
        </pc:picChg>
        <pc:picChg chg="del">
          <ac:chgData name="TOMIDA, Rei" userId="932807cb-e20e-4938-a276-88bbf4cb8e42" providerId="ADAL" clId="{EB3E8DCF-D5FF-495E-9EFD-3C52631232AD}" dt="2024-02-09T06:04:07.347" v="1289" actId="478"/>
          <ac:picMkLst>
            <pc:docMk/>
            <pc:sldMk cId="1835882030" sldId="2007579886"/>
            <ac:picMk id="13" creationId="{FE90ADE4-73C0-9462-1ADF-BB2C208C6451}"/>
          </ac:picMkLst>
        </pc:picChg>
      </pc:sldChg>
      <pc:sldChg chg="modSp add mod">
        <pc:chgData name="TOMIDA, Rei" userId="932807cb-e20e-4938-a276-88bbf4cb8e42" providerId="ADAL" clId="{EB3E8DCF-D5FF-495E-9EFD-3C52631232AD}" dt="2024-02-09T06:28:30.267" v="1581" actId="207"/>
        <pc:sldMkLst>
          <pc:docMk/>
          <pc:sldMk cId="1598624391" sldId="2007579887"/>
        </pc:sldMkLst>
        <pc:spChg chg="mod">
          <ac:chgData name="TOMIDA, Rei" userId="932807cb-e20e-4938-a276-88bbf4cb8e42" providerId="ADAL" clId="{EB3E8DCF-D5FF-495E-9EFD-3C52631232AD}" dt="2024-02-09T06:28:30.267" v="1581" actId="207"/>
          <ac:spMkLst>
            <pc:docMk/>
            <pc:sldMk cId="1598624391" sldId="2007579887"/>
            <ac:spMk id="4" creationId="{7A1539A8-3A4B-53CB-3229-DA4B57E04679}"/>
          </ac:spMkLst>
        </pc:spChg>
      </pc:sldChg>
      <pc:sldChg chg="delSp modSp add del mod">
        <pc:chgData name="TOMIDA, Rei" userId="932807cb-e20e-4938-a276-88bbf4cb8e42" providerId="ADAL" clId="{EB3E8DCF-D5FF-495E-9EFD-3C52631232AD}" dt="2024-02-09T06:09:42.695" v="1326" actId="47"/>
        <pc:sldMkLst>
          <pc:docMk/>
          <pc:sldMk cId="3146478795" sldId="2007579887"/>
        </pc:sldMkLst>
        <pc:picChg chg="del">
          <ac:chgData name="TOMIDA, Rei" userId="932807cb-e20e-4938-a276-88bbf4cb8e42" providerId="ADAL" clId="{EB3E8DCF-D5FF-495E-9EFD-3C52631232AD}" dt="2024-02-09T06:07:00.546" v="1302" actId="478"/>
          <ac:picMkLst>
            <pc:docMk/>
            <pc:sldMk cId="3146478795" sldId="2007579887"/>
            <ac:picMk id="5" creationId="{D20A5C47-7C16-6BD9-356C-4E4FD355B11C}"/>
          </ac:picMkLst>
        </pc:picChg>
        <pc:picChg chg="del mod">
          <ac:chgData name="TOMIDA, Rei" userId="932807cb-e20e-4938-a276-88bbf4cb8e42" providerId="ADAL" clId="{EB3E8DCF-D5FF-495E-9EFD-3C52631232AD}" dt="2024-02-09T06:09:34.266" v="1325" actId="478"/>
          <ac:picMkLst>
            <pc:docMk/>
            <pc:sldMk cId="3146478795" sldId="2007579887"/>
            <ac:picMk id="8" creationId="{09C49585-7C23-E3C1-6842-8C479174FBD3}"/>
          </ac:picMkLst>
        </pc:picChg>
      </pc:sldChg>
      <pc:sldMasterChg chg="modSldLayout">
        <pc:chgData name="TOMIDA, Rei" userId="932807cb-e20e-4938-a276-88bbf4cb8e42" providerId="ADAL" clId="{EB3E8DCF-D5FF-495E-9EFD-3C52631232AD}" dt="2024-02-09T06:29:25.473" v="1582" actId="478"/>
        <pc:sldMasterMkLst>
          <pc:docMk/>
          <pc:sldMasterMk cId="0" sldId="2147483648"/>
        </pc:sldMasterMkLst>
        <pc:sldLayoutChg chg="delSp mod">
          <pc:chgData name="TOMIDA, Rei" userId="932807cb-e20e-4938-a276-88bbf4cb8e42" providerId="ADAL" clId="{EB3E8DCF-D5FF-495E-9EFD-3C52631232AD}" dt="2024-02-09T06:29:25.473" v="1582" actId="478"/>
          <pc:sldLayoutMkLst>
            <pc:docMk/>
            <pc:sldMasterMk cId="0" sldId="2147483648"/>
            <pc:sldLayoutMk cId="4146118308" sldId="2147483956"/>
          </pc:sldLayoutMkLst>
          <pc:picChg chg="del">
            <ac:chgData name="TOMIDA, Rei" userId="932807cb-e20e-4938-a276-88bbf4cb8e42" providerId="ADAL" clId="{EB3E8DCF-D5FF-495E-9EFD-3C52631232AD}" dt="2024-02-09T06:29:25.473" v="1582" actId="478"/>
            <ac:picMkLst>
              <pc:docMk/>
              <pc:sldMasterMk cId="0" sldId="2147483648"/>
              <pc:sldLayoutMk cId="4146118308" sldId="2147483956"/>
              <ac:picMk id="5" creationId="{B512E199-7640-C4BF-75F5-CB2F5BEB6C40}"/>
            </ac:picMkLst>
          </pc:picChg>
        </pc:sldLayoutChg>
      </pc:sldMasterChg>
      <pc:sldMasterChg chg="delSldLayout modSldLayout">
        <pc:chgData name="TOMIDA, Rei" userId="932807cb-e20e-4938-a276-88bbf4cb8e42" providerId="ADAL" clId="{EB3E8DCF-D5FF-495E-9EFD-3C52631232AD}" dt="2024-02-09T05:56:22.754" v="1193" actId="47"/>
        <pc:sldMasterMkLst>
          <pc:docMk/>
          <pc:sldMasterMk cId="1265165505" sldId="2147483746"/>
        </pc:sldMasterMkLst>
        <pc:sldLayoutChg chg="addSp modSp mod">
          <pc:chgData name="TOMIDA, Rei" userId="932807cb-e20e-4938-a276-88bbf4cb8e42" providerId="ADAL" clId="{EB3E8DCF-D5FF-495E-9EFD-3C52631232AD}" dt="2024-02-09T05:14:31.575" v="119" actId="1037"/>
          <pc:sldLayoutMkLst>
            <pc:docMk/>
            <pc:sldMasterMk cId="1265165505" sldId="2147483746"/>
            <pc:sldLayoutMk cId="1354160326" sldId="2147483910"/>
          </pc:sldLayoutMkLst>
          <pc:picChg chg="mod">
            <ac:chgData name="TOMIDA, Rei" userId="932807cb-e20e-4938-a276-88bbf4cb8e42" providerId="ADAL" clId="{EB3E8DCF-D5FF-495E-9EFD-3C52631232AD}" dt="2024-02-09T05:14:30.382" v="115" actId="1037"/>
            <ac:picMkLst>
              <pc:docMk/>
              <pc:sldMasterMk cId="1265165505" sldId="2147483746"/>
              <pc:sldLayoutMk cId="1354160326" sldId="2147483910"/>
              <ac:picMk id="4" creationId="{5B1F2DFA-201B-AC5B-7854-C7896AFF1AB6}"/>
            </ac:picMkLst>
          </pc:picChg>
          <pc:picChg chg="add mod">
            <ac:chgData name="TOMIDA, Rei" userId="932807cb-e20e-4938-a276-88bbf4cb8e42" providerId="ADAL" clId="{EB3E8DCF-D5FF-495E-9EFD-3C52631232AD}" dt="2024-02-09T05:14:31.575" v="119" actId="1037"/>
            <ac:picMkLst>
              <pc:docMk/>
              <pc:sldMasterMk cId="1265165505" sldId="2147483746"/>
              <pc:sldLayoutMk cId="1354160326" sldId="2147483910"/>
              <ac:picMk id="9" creationId="{2FE06FE5-22EE-526B-3177-093CB7FC46F2}"/>
            </ac:picMkLst>
          </pc:picChg>
        </pc:sldLayoutChg>
        <pc:sldLayoutChg chg="del">
          <pc:chgData name="TOMIDA, Rei" userId="932807cb-e20e-4938-a276-88bbf4cb8e42" providerId="ADAL" clId="{EB3E8DCF-D5FF-495E-9EFD-3C52631232AD}" dt="2024-02-09T05:56:22.754" v="1193" actId="47"/>
          <pc:sldLayoutMkLst>
            <pc:docMk/>
            <pc:sldMasterMk cId="1265165505" sldId="2147483746"/>
            <pc:sldLayoutMk cId="2604181543" sldId="2147483957"/>
          </pc:sldLayoutMkLst>
        </pc:sldLayoutChg>
      </pc:sldMasterChg>
      <pc:sldMasterChg chg="delSldLayout">
        <pc:chgData name="TOMIDA, Rei" userId="932807cb-e20e-4938-a276-88bbf4cb8e42" providerId="ADAL" clId="{EB3E8DCF-D5FF-495E-9EFD-3C52631232AD}" dt="2024-02-09T05:57:07.614" v="1210" actId="47"/>
        <pc:sldMasterMkLst>
          <pc:docMk/>
          <pc:sldMasterMk cId="2304194792" sldId="2147483845"/>
        </pc:sldMasterMkLst>
        <pc:sldLayoutChg chg="del">
          <pc:chgData name="TOMIDA, Rei" userId="932807cb-e20e-4938-a276-88bbf4cb8e42" providerId="ADAL" clId="{EB3E8DCF-D5FF-495E-9EFD-3C52631232AD}" dt="2024-02-09T05:57:07.614" v="1210" actId="47"/>
          <pc:sldLayoutMkLst>
            <pc:docMk/>
            <pc:sldMasterMk cId="2304194792" sldId="2147483845"/>
            <pc:sldLayoutMk cId="2746658191" sldId="2147483939"/>
          </pc:sldLayoutMkLst>
        </pc:sldLayoutChg>
        <pc:sldLayoutChg chg="del">
          <pc:chgData name="TOMIDA, Rei" userId="932807cb-e20e-4938-a276-88bbf4cb8e42" providerId="ADAL" clId="{EB3E8DCF-D5FF-495E-9EFD-3C52631232AD}" dt="2024-02-09T05:57:05.193" v="1208" actId="47"/>
          <pc:sldLayoutMkLst>
            <pc:docMk/>
            <pc:sldMasterMk cId="2304194792" sldId="2147483845"/>
            <pc:sldLayoutMk cId="827101488" sldId="2147483955"/>
          </pc:sldLayoutMkLst>
        </pc:sldLayoutChg>
      </pc:sldMasterChg>
      <pc:sldMasterChg chg="delSldLayout">
        <pc:chgData name="TOMIDA, Rei" userId="932807cb-e20e-4938-a276-88bbf4cb8e42" providerId="ADAL" clId="{EB3E8DCF-D5FF-495E-9EFD-3C52631232AD}" dt="2024-02-09T05:40:17.218" v="802" actId="47"/>
        <pc:sldMasterMkLst>
          <pc:docMk/>
          <pc:sldMasterMk cId="2038301770" sldId="2147483865"/>
        </pc:sldMasterMkLst>
        <pc:sldLayoutChg chg="del">
          <pc:chgData name="TOMIDA, Rei" userId="932807cb-e20e-4938-a276-88bbf4cb8e42" providerId="ADAL" clId="{EB3E8DCF-D5FF-495E-9EFD-3C52631232AD}" dt="2024-02-09T05:40:17.218" v="802" actId="47"/>
          <pc:sldLayoutMkLst>
            <pc:docMk/>
            <pc:sldMasterMk cId="2038301770" sldId="2147483865"/>
            <pc:sldLayoutMk cId="1046925940" sldId="2147483956"/>
          </pc:sldLayoutMkLst>
        </pc:sldLayoutChg>
      </pc:sldMasterChg>
      <pc:sldMasterChg chg="modSldLayout">
        <pc:chgData name="TOMIDA, Rei" userId="932807cb-e20e-4938-a276-88bbf4cb8e42" providerId="ADAL" clId="{EB3E8DCF-D5FF-495E-9EFD-3C52631232AD}" dt="2024-02-09T05:36:33.277" v="685" actId="1076"/>
        <pc:sldMasterMkLst>
          <pc:docMk/>
          <pc:sldMasterMk cId="2481465558" sldId="2147483911"/>
        </pc:sldMasterMkLst>
        <pc:sldLayoutChg chg="modSp mod">
          <pc:chgData name="TOMIDA, Rei" userId="932807cb-e20e-4938-a276-88bbf4cb8e42" providerId="ADAL" clId="{EB3E8DCF-D5FF-495E-9EFD-3C52631232AD}" dt="2024-02-09T05:36:33.277" v="685" actId="1076"/>
          <pc:sldLayoutMkLst>
            <pc:docMk/>
            <pc:sldMasterMk cId="2481465558" sldId="2147483911"/>
            <pc:sldLayoutMk cId="2494293748" sldId="2147483919"/>
          </pc:sldLayoutMkLst>
          <pc:picChg chg="mod">
            <ac:chgData name="TOMIDA, Rei" userId="932807cb-e20e-4938-a276-88bbf4cb8e42" providerId="ADAL" clId="{EB3E8DCF-D5FF-495E-9EFD-3C52631232AD}" dt="2024-02-09T05:36:33.277" v="685" actId="1076"/>
            <ac:picMkLst>
              <pc:docMk/>
              <pc:sldMasterMk cId="2481465558" sldId="2147483911"/>
              <pc:sldLayoutMk cId="2494293748" sldId="2147483919"/>
              <ac:picMk id="5" creationId="{CD84201B-EEEB-7F84-2BBE-D3547770656A}"/>
            </ac:picMkLst>
          </pc:picChg>
        </pc:sldLayoutChg>
      </pc:sldMasterChg>
      <pc:sldMasterChg chg="delSldLayout">
        <pc:chgData name="TOMIDA, Rei" userId="932807cb-e20e-4938-a276-88bbf4cb8e42" providerId="ADAL" clId="{EB3E8DCF-D5FF-495E-9EFD-3C52631232AD}" dt="2024-02-09T05:57:04.364" v="1207" actId="47"/>
        <pc:sldMasterMkLst>
          <pc:docMk/>
          <pc:sldMasterMk cId="4198145379" sldId="2147483940"/>
        </pc:sldMasterMkLst>
        <pc:sldLayoutChg chg="del">
          <pc:chgData name="TOMIDA, Rei" userId="932807cb-e20e-4938-a276-88bbf4cb8e42" providerId="ADAL" clId="{EB3E8DCF-D5FF-495E-9EFD-3C52631232AD}" dt="2024-02-09T05:57:04.364" v="1207" actId="47"/>
          <pc:sldLayoutMkLst>
            <pc:docMk/>
            <pc:sldMasterMk cId="4198145379" sldId="2147483940"/>
            <pc:sldLayoutMk cId="3735651012" sldId="2147483954"/>
          </pc:sldLayoutMkLst>
        </pc:sldLayoutChg>
      </pc:sldMasterChg>
    </pc:docChg>
  </pc:docChgLst>
  <pc:docChgLst>
    <pc:chgData name="TOMIDA, Rei" userId="932807cb-e20e-4938-a276-88bbf4cb8e42" providerId="ADAL" clId="{AD0C3BFC-7C82-4928-BDFE-B514B105C1E6}"/>
    <pc:docChg chg="undo redo custSel addSld delSld modSld modMainMaster">
      <pc:chgData name="TOMIDA, Rei" userId="932807cb-e20e-4938-a276-88bbf4cb8e42" providerId="ADAL" clId="{AD0C3BFC-7C82-4928-BDFE-B514B105C1E6}" dt="2024-02-15T10:50:00.169" v="1307" actId="1076"/>
      <pc:docMkLst>
        <pc:docMk/>
      </pc:docMkLst>
      <pc:sldChg chg="addSp modSp">
        <pc:chgData name="TOMIDA, Rei" userId="932807cb-e20e-4938-a276-88bbf4cb8e42" providerId="ADAL" clId="{AD0C3BFC-7C82-4928-BDFE-B514B105C1E6}" dt="2024-02-15T09:45:15.056" v="190"/>
        <pc:sldMkLst>
          <pc:docMk/>
          <pc:sldMk cId="1841539618" sldId="3799"/>
        </pc:sldMkLst>
        <pc:picChg chg="add mod">
          <ac:chgData name="TOMIDA, Rei" userId="932807cb-e20e-4938-a276-88bbf4cb8e42" providerId="ADAL" clId="{AD0C3BFC-7C82-4928-BDFE-B514B105C1E6}" dt="2024-02-15T09:45:15.056" v="190"/>
          <ac:picMkLst>
            <pc:docMk/>
            <pc:sldMk cId="1841539618" sldId="3799"/>
            <ac:picMk id="2" creationId="{694EFDEB-B19E-ACA9-0B92-B3F88122ACA2}"/>
          </ac:picMkLst>
        </pc:picChg>
      </pc:sldChg>
      <pc:sldChg chg="modSp">
        <pc:chgData name="TOMIDA, Rei" userId="932807cb-e20e-4938-a276-88bbf4cb8e42" providerId="ADAL" clId="{AD0C3BFC-7C82-4928-BDFE-B514B105C1E6}" dt="2024-02-15T10:22:46.772" v="1133" actId="14100"/>
        <pc:sldMkLst>
          <pc:docMk/>
          <pc:sldMk cId="1281323083" sldId="6870"/>
        </pc:sldMkLst>
        <pc:picChg chg="mod">
          <ac:chgData name="TOMIDA, Rei" userId="932807cb-e20e-4938-a276-88bbf4cb8e42" providerId="ADAL" clId="{AD0C3BFC-7C82-4928-BDFE-B514B105C1E6}" dt="2024-02-15T10:22:46.772" v="1133" actId="14100"/>
          <ac:picMkLst>
            <pc:docMk/>
            <pc:sldMk cId="1281323083" sldId="6870"/>
            <ac:picMk id="8" creationId="{F8C874A9-1BB4-CE03-948E-F6E7E792DAE7}"/>
          </ac:picMkLst>
        </pc:picChg>
      </pc:sldChg>
      <pc:sldChg chg="modSp mod">
        <pc:chgData name="TOMIDA, Rei" userId="932807cb-e20e-4938-a276-88bbf4cb8e42" providerId="ADAL" clId="{AD0C3BFC-7C82-4928-BDFE-B514B105C1E6}" dt="2024-02-15T10:14:01.993" v="851"/>
        <pc:sldMkLst>
          <pc:docMk/>
          <pc:sldMk cId="2392137045" sldId="6872"/>
        </pc:sldMkLst>
        <pc:spChg chg="mod">
          <ac:chgData name="TOMIDA, Rei" userId="932807cb-e20e-4938-a276-88bbf4cb8e42" providerId="ADAL" clId="{AD0C3BFC-7C82-4928-BDFE-B514B105C1E6}" dt="2024-02-15T10:14:01.993" v="851"/>
          <ac:spMkLst>
            <pc:docMk/>
            <pc:sldMk cId="2392137045" sldId="6872"/>
            <ac:spMk id="12" creationId="{C92A527E-5DBF-E0F1-9EFE-F1E86C36D2CE}"/>
          </ac:spMkLst>
        </pc:spChg>
      </pc:sldChg>
      <pc:sldChg chg="modSp mod">
        <pc:chgData name="TOMIDA, Rei" userId="932807cb-e20e-4938-a276-88bbf4cb8e42" providerId="ADAL" clId="{AD0C3BFC-7C82-4928-BDFE-B514B105C1E6}" dt="2024-02-15T09:56:08.097" v="359"/>
        <pc:sldMkLst>
          <pc:docMk/>
          <pc:sldMk cId="2827633507" sldId="6885"/>
        </pc:sldMkLst>
        <pc:spChg chg="mod">
          <ac:chgData name="TOMIDA, Rei" userId="932807cb-e20e-4938-a276-88bbf4cb8e42" providerId="ADAL" clId="{AD0C3BFC-7C82-4928-BDFE-B514B105C1E6}" dt="2024-02-15T09:56:08.097" v="359"/>
          <ac:spMkLst>
            <pc:docMk/>
            <pc:sldMk cId="2827633507" sldId="6885"/>
            <ac:spMk id="3" creationId="{0895D35A-E002-DCE3-877A-0D312BE196C1}"/>
          </ac:spMkLst>
        </pc:spChg>
      </pc:sldChg>
      <pc:sldChg chg="modSp mod">
        <pc:chgData name="TOMIDA, Rei" userId="932807cb-e20e-4938-a276-88bbf4cb8e42" providerId="ADAL" clId="{AD0C3BFC-7C82-4928-BDFE-B514B105C1E6}" dt="2024-02-15T10:01:07.972" v="361" actId="948"/>
        <pc:sldMkLst>
          <pc:docMk/>
          <pc:sldMk cId="385883344" sldId="6889"/>
        </pc:sldMkLst>
        <pc:graphicFrameChg chg="modGraphic">
          <ac:chgData name="TOMIDA, Rei" userId="932807cb-e20e-4938-a276-88bbf4cb8e42" providerId="ADAL" clId="{AD0C3BFC-7C82-4928-BDFE-B514B105C1E6}" dt="2024-02-15T10:01:07.972" v="361" actId="948"/>
          <ac:graphicFrameMkLst>
            <pc:docMk/>
            <pc:sldMk cId="385883344" sldId="6889"/>
            <ac:graphicFrameMk id="3" creationId="{5B123E12-735E-BBBC-CCD8-7818C994CADA}"/>
          </ac:graphicFrameMkLst>
        </pc:graphicFrameChg>
      </pc:sldChg>
      <pc:sldChg chg="addSp delSp modSp mod">
        <pc:chgData name="TOMIDA, Rei" userId="932807cb-e20e-4938-a276-88bbf4cb8e42" providerId="ADAL" clId="{AD0C3BFC-7C82-4928-BDFE-B514B105C1E6}" dt="2024-02-15T09:31:07.100" v="76" actId="478"/>
        <pc:sldMkLst>
          <pc:docMk/>
          <pc:sldMk cId="4130498016" sldId="2007579881"/>
        </pc:sldMkLst>
        <pc:spChg chg="mod">
          <ac:chgData name="TOMIDA, Rei" userId="932807cb-e20e-4938-a276-88bbf4cb8e42" providerId="ADAL" clId="{AD0C3BFC-7C82-4928-BDFE-B514B105C1E6}" dt="2024-02-15T09:25:06.388" v="2" actId="403"/>
          <ac:spMkLst>
            <pc:docMk/>
            <pc:sldMk cId="4130498016" sldId="2007579881"/>
            <ac:spMk id="5" creationId="{37200EFD-F97D-D86F-AC06-6A1707EB93B3}"/>
          </ac:spMkLst>
        </pc:spChg>
        <pc:picChg chg="add del mod">
          <ac:chgData name="TOMIDA, Rei" userId="932807cb-e20e-4938-a276-88bbf4cb8e42" providerId="ADAL" clId="{AD0C3BFC-7C82-4928-BDFE-B514B105C1E6}" dt="2024-02-15T09:28:38.283" v="10" actId="478"/>
          <ac:picMkLst>
            <pc:docMk/>
            <pc:sldMk cId="4130498016" sldId="2007579881"/>
            <ac:picMk id="3" creationId="{14B530E9-16B3-44EB-7F54-5E767E72081A}"/>
          </ac:picMkLst>
        </pc:picChg>
        <pc:picChg chg="add del mod">
          <ac:chgData name="TOMIDA, Rei" userId="932807cb-e20e-4938-a276-88bbf4cb8e42" providerId="ADAL" clId="{AD0C3BFC-7C82-4928-BDFE-B514B105C1E6}" dt="2024-02-15T09:31:07.100" v="76" actId="478"/>
          <ac:picMkLst>
            <pc:docMk/>
            <pc:sldMk cId="4130498016" sldId="2007579881"/>
            <ac:picMk id="7" creationId="{22733DE1-2E55-A944-3026-37D19507051F}"/>
          </ac:picMkLst>
        </pc:picChg>
      </pc:sldChg>
      <pc:sldChg chg="modSp mod">
        <pc:chgData name="TOMIDA, Rei" userId="932807cb-e20e-4938-a276-88bbf4cb8e42" providerId="ADAL" clId="{AD0C3BFC-7C82-4928-BDFE-B514B105C1E6}" dt="2024-02-15T10:13:37.369" v="827"/>
        <pc:sldMkLst>
          <pc:docMk/>
          <pc:sldMk cId="1835882030" sldId="2007579886"/>
        </pc:sldMkLst>
        <pc:spChg chg="mod">
          <ac:chgData name="TOMIDA, Rei" userId="932807cb-e20e-4938-a276-88bbf4cb8e42" providerId="ADAL" clId="{AD0C3BFC-7C82-4928-BDFE-B514B105C1E6}" dt="2024-02-15T10:13:37.369" v="827"/>
          <ac:spMkLst>
            <pc:docMk/>
            <pc:sldMk cId="1835882030" sldId="2007579886"/>
            <ac:spMk id="3" creationId="{B3C87816-C489-6E5E-C7B1-FD9ADF357B62}"/>
          </ac:spMkLst>
        </pc:spChg>
        <pc:spChg chg="mod">
          <ac:chgData name="TOMIDA, Rei" userId="932807cb-e20e-4938-a276-88bbf4cb8e42" providerId="ADAL" clId="{AD0C3BFC-7C82-4928-BDFE-B514B105C1E6}" dt="2024-02-15T09:55:02.777" v="351" actId="20577"/>
          <ac:spMkLst>
            <pc:docMk/>
            <pc:sldMk cId="1835882030" sldId="2007579886"/>
            <ac:spMk id="16" creationId="{01AD0DBB-A67F-44CB-3582-869DDEB4A67A}"/>
          </ac:spMkLst>
        </pc:spChg>
      </pc:sldChg>
      <pc:sldChg chg="addSp delSp modSp add mod">
        <pc:chgData name="TOMIDA, Rei" userId="932807cb-e20e-4938-a276-88bbf4cb8e42" providerId="ADAL" clId="{AD0C3BFC-7C82-4928-BDFE-B514B105C1E6}" dt="2024-02-15T09:53:33.620" v="337" actId="20577"/>
        <pc:sldMkLst>
          <pc:docMk/>
          <pc:sldMk cId="2604812875" sldId="2007579888"/>
        </pc:sldMkLst>
        <pc:spChg chg="del">
          <ac:chgData name="TOMIDA, Rei" userId="932807cb-e20e-4938-a276-88bbf4cb8e42" providerId="ADAL" clId="{AD0C3BFC-7C82-4928-BDFE-B514B105C1E6}" dt="2024-02-15T09:34:40.959" v="82" actId="478"/>
          <ac:spMkLst>
            <pc:docMk/>
            <pc:sldMk cId="2604812875" sldId="2007579888"/>
            <ac:spMk id="5" creationId="{1C76DA6E-0DD4-1637-8854-97AF9B5274FF}"/>
          </ac:spMkLst>
        </pc:spChg>
        <pc:spChg chg="mod">
          <ac:chgData name="TOMIDA, Rei" userId="932807cb-e20e-4938-a276-88bbf4cb8e42" providerId="ADAL" clId="{AD0C3BFC-7C82-4928-BDFE-B514B105C1E6}" dt="2024-02-15T09:35:30.803" v="98" actId="1038"/>
          <ac:spMkLst>
            <pc:docMk/>
            <pc:sldMk cId="2604812875" sldId="2007579888"/>
            <ac:spMk id="9" creationId="{5F3E8348-B398-540C-5ADD-D04BD4813874}"/>
          </ac:spMkLst>
        </pc:spChg>
        <pc:spChg chg="mod">
          <ac:chgData name="TOMIDA, Rei" userId="932807cb-e20e-4938-a276-88bbf4cb8e42" providerId="ADAL" clId="{AD0C3BFC-7C82-4928-BDFE-B514B105C1E6}" dt="2024-02-15T09:35:30.803" v="98" actId="1038"/>
          <ac:spMkLst>
            <pc:docMk/>
            <pc:sldMk cId="2604812875" sldId="2007579888"/>
            <ac:spMk id="13" creationId="{B5B0BB96-4062-DA40-F358-38ADE5231D5D}"/>
          </ac:spMkLst>
        </pc:spChg>
        <pc:spChg chg="mod">
          <ac:chgData name="TOMIDA, Rei" userId="932807cb-e20e-4938-a276-88bbf4cb8e42" providerId="ADAL" clId="{AD0C3BFC-7C82-4928-BDFE-B514B105C1E6}" dt="2024-02-15T09:35:30.803" v="98" actId="1038"/>
          <ac:spMkLst>
            <pc:docMk/>
            <pc:sldMk cId="2604812875" sldId="2007579888"/>
            <ac:spMk id="14" creationId="{9ED7BA78-B578-53F8-A9BD-B7433B67CC1F}"/>
          </ac:spMkLst>
        </pc:spChg>
        <pc:spChg chg="mod">
          <ac:chgData name="TOMIDA, Rei" userId="932807cb-e20e-4938-a276-88bbf4cb8e42" providerId="ADAL" clId="{AD0C3BFC-7C82-4928-BDFE-B514B105C1E6}" dt="2024-02-15T09:35:30.803" v="98" actId="1038"/>
          <ac:spMkLst>
            <pc:docMk/>
            <pc:sldMk cId="2604812875" sldId="2007579888"/>
            <ac:spMk id="15" creationId="{0FB1A1DB-60E3-4231-44C3-5D0F59CECF79}"/>
          </ac:spMkLst>
        </pc:spChg>
        <pc:spChg chg="mod">
          <ac:chgData name="TOMIDA, Rei" userId="932807cb-e20e-4938-a276-88bbf4cb8e42" providerId="ADAL" clId="{AD0C3BFC-7C82-4928-BDFE-B514B105C1E6}" dt="2024-02-15T09:35:30.803" v="98" actId="1038"/>
          <ac:spMkLst>
            <pc:docMk/>
            <pc:sldMk cId="2604812875" sldId="2007579888"/>
            <ac:spMk id="19" creationId="{F45928DE-DF78-427D-D048-81B15436DF33}"/>
          </ac:spMkLst>
        </pc:spChg>
        <pc:spChg chg="mod">
          <ac:chgData name="TOMIDA, Rei" userId="932807cb-e20e-4938-a276-88bbf4cb8e42" providerId="ADAL" clId="{AD0C3BFC-7C82-4928-BDFE-B514B105C1E6}" dt="2024-02-15T09:35:30.803" v="98" actId="1038"/>
          <ac:spMkLst>
            <pc:docMk/>
            <pc:sldMk cId="2604812875" sldId="2007579888"/>
            <ac:spMk id="20" creationId="{ADCDC825-63CF-9B2A-B19F-EA51D2BF4596}"/>
          </ac:spMkLst>
        </pc:spChg>
        <pc:spChg chg="mod">
          <ac:chgData name="TOMIDA, Rei" userId="932807cb-e20e-4938-a276-88bbf4cb8e42" providerId="ADAL" clId="{AD0C3BFC-7C82-4928-BDFE-B514B105C1E6}" dt="2024-02-15T09:35:30.803" v="98" actId="1038"/>
          <ac:spMkLst>
            <pc:docMk/>
            <pc:sldMk cId="2604812875" sldId="2007579888"/>
            <ac:spMk id="21" creationId="{2B1AE658-1DA4-911E-BA01-83BCDF985292}"/>
          </ac:spMkLst>
        </pc:spChg>
        <pc:spChg chg="mod">
          <ac:chgData name="TOMIDA, Rei" userId="932807cb-e20e-4938-a276-88bbf4cb8e42" providerId="ADAL" clId="{AD0C3BFC-7C82-4928-BDFE-B514B105C1E6}" dt="2024-02-15T09:35:30.803" v="98" actId="1038"/>
          <ac:spMkLst>
            <pc:docMk/>
            <pc:sldMk cId="2604812875" sldId="2007579888"/>
            <ac:spMk id="25" creationId="{93409E12-B461-E6B3-89CA-F1DE4F237F11}"/>
          </ac:spMkLst>
        </pc:spChg>
        <pc:spChg chg="del">
          <ac:chgData name="TOMIDA, Rei" userId="932807cb-e20e-4938-a276-88bbf4cb8e42" providerId="ADAL" clId="{AD0C3BFC-7C82-4928-BDFE-B514B105C1E6}" dt="2024-02-15T09:34:36.720" v="79" actId="478"/>
          <ac:spMkLst>
            <pc:docMk/>
            <pc:sldMk cId="2604812875" sldId="2007579888"/>
            <ac:spMk id="26" creationId="{B3D1CF4B-BB46-82BD-5216-9B7335AC0034}"/>
          </ac:spMkLst>
        </pc:spChg>
        <pc:spChg chg="mod">
          <ac:chgData name="TOMIDA, Rei" userId="932807cb-e20e-4938-a276-88bbf4cb8e42" providerId="ADAL" clId="{AD0C3BFC-7C82-4928-BDFE-B514B105C1E6}" dt="2024-02-15T09:35:30.803" v="98" actId="1038"/>
          <ac:spMkLst>
            <pc:docMk/>
            <pc:sldMk cId="2604812875" sldId="2007579888"/>
            <ac:spMk id="27" creationId="{08CECE4B-4D4D-36E5-7544-8604CB69788E}"/>
          </ac:spMkLst>
        </pc:spChg>
        <pc:spChg chg="mod">
          <ac:chgData name="TOMIDA, Rei" userId="932807cb-e20e-4938-a276-88bbf4cb8e42" providerId="ADAL" clId="{AD0C3BFC-7C82-4928-BDFE-B514B105C1E6}" dt="2024-02-15T09:35:30.803" v="98" actId="1038"/>
          <ac:spMkLst>
            <pc:docMk/>
            <pc:sldMk cId="2604812875" sldId="2007579888"/>
            <ac:spMk id="32" creationId="{D9EF3FB3-801A-FC3D-F5D2-A673EE933420}"/>
          </ac:spMkLst>
        </pc:spChg>
        <pc:spChg chg="mod">
          <ac:chgData name="TOMIDA, Rei" userId="932807cb-e20e-4938-a276-88bbf4cb8e42" providerId="ADAL" clId="{AD0C3BFC-7C82-4928-BDFE-B514B105C1E6}" dt="2024-02-15T09:35:30.803" v="98" actId="1038"/>
          <ac:spMkLst>
            <pc:docMk/>
            <pc:sldMk cId="2604812875" sldId="2007579888"/>
            <ac:spMk id="36" creationId="{125957B0-7539-839B-8A42-B65243C2E89B}"/>
          </ac:spMkLst>
        </pc:spChg>
        <pc:spChg chg="mod">
          <ac:chgData name="TOMIDA, Rei" userId="932807cb-e20e-4938-a276-88bbf4cb8e42" providerId="ADAL" clId="{AD0C3BFC-7C82-4928-BDFE-B514B105C1E6}" dt="2024-02-15T09:35:30.803" v="98" actId="1038"/>
          <ac:spMkLst>
            <pc:docMk/>
            <pc:sldMk cId="2604812875" sldId="2007579888"/>
            <ac:spMk id="37" creationId="{D1D97209-E787-9416-AA54-907198827012}"/>
          </ac:spMkLst>
        </pc:spChg>
        <pc:spChg chg="mod">
          <ac:chgData name="TOMIDA, Rei" userId="932807cb-e20e-4938-a276-88bbf4cb8e42" providerId="ADAL" clId="{AD0C3BFC-7C82-4928-BDFE-B514B105C1E6}" dt="2024-02-15T09:35:30.803" v="98" actId="1038"/>
          <ac:spMkLst>
            <pc:docMk/>
            <pc:sldMk cId="2604812875" sldId="2007579888"/>
            <ac:spMk id="38" creationId="{E71EC5AD-D264-D871-8C74-F687CB9BCDA8}"/>
          </ac:spMkLst>
        </pc:spChg>
        <pc:spChg chg="mod">
          <ac:chgData name="TOMIDA, Rei" userId="932807cb-e20e-4938-a276-88bbf4cb8e42" providerId="ADAL" clId="{AD0C3BFC-7C82-4928-BDFE-B514B105C1E6}" dt="2024-02-15T09:35:30.803" v="98" actId="1038"/>
          <ac:spMkLst>
            <pc:docMk/>
            <pc:sldMk cId="2604812875" sldId="2007579888"/>
            <ac:spMk id="42" creationId="{4BF3A8BD-D2E0-72EB-7E76-B663A7FF26EB}"/>
          </ac:spMkLst>
        </pc:spChg>
        <pc:spChg chg="mod">
          <ac:chgData name="TOMIDA, Rei" userId="932807cb-e20e-4938-a276-88bbf4cb8e42" providerId="ADAL" clId="{AD0C3BFC-7C82-4928-BDFE-B514B105C1E6}" dt="2024-02-15T09:35:30.803" v="98" actId="1038"/>
          <ac:spMkLst>
            <pc:docMk/>
            <pc:sldMk cId="2604812875" sldId="2007579888"/>
            <ac:spMk id="43" creationId="{FD0098BE-B5BB-321C-B55B-E205EF8968FB}"/>
          </ac:spMkLst>
        </pc:spChg>
        <pc:spChg chg="mod">
          <ac:chgData name="TOMIDA, Rei" userId="932807cb-e20e-4938-a276-88bbf4cb8e42" providerId="ADAL" clId="{AD0C3BFC-7C82-4928-BDFE-B514B105C1E6}" dt="2024-02-15T09:35:30.803" v="98" actId="1038"/>
          <ac:spMkLst>
            <pc:docMk/>
            <pc:sldMk cId="2604812875" sldId="2007579888"/>
            <ac:spMk id="44" creationId="{BF78397A-71C3-ED9B-D2C6-12087AFCA487}"/>
          </ac:spMkLst>
        </pc:spChg>
        <pc:spChg chg="mod">
          <ac:chgData name="TOMIDA, Rei" userId="932807cb-e20e-4938-a276-88bbf4cb8e42" providerId="ADAL" clId="{AD0C3BFC-7C82-4928-BDFE-B514B105C1E6}" dt="2024-02-15T09:35:30.803" v="98" actId="1038"/>
          <ac:spMkLst>
            <pc:docMk/>
            <pc:sldMk cId="2604812875" sldId="2007579888"/>
            <ac:spMk id="48" creationId="{0457E876-18A3-D2C3-5ECE-769D5525FBFD}"/>
          </ac:spMkLst>
        </pc:spChg>
        <pc:spChg chg="mod">
          <ac:chgData name="TOMIDA, Rei" userId="932807cb-e20e-4938-a276-88bbf4cb8e42" providerId="ADAL" clId="{AD0C3BFC-7C82-4928-BDFE-B514B105C1E6}" dt="2024-02-15T09:35:30.803" v="98" actId="1038"/>
          <ac:spMkLst>
            <pc:docMk/>
            <pc:sldMk cId="2604812875" sldId="2007579888"/>
            <ac:spMk id="49" creationId="{DC7FD804-654B-C7BA-9B4F-EF6E861F9B26}"/>
          </ac:spMkLst>
        </pc:spChg>
        <pc:spChg chg="mod">
          <ac:chgData name="TOMIDA, Rei" userId="932807cb-e20e-4938-a276-88bbf4cb8e42" providerId="ADAL" clId="{AD0C3BFC-7C82-4928-BDFE-B514B105C1E6}" dt="2024-02-15T09:35:30.803" v="98" actId="1038"/>
          <ac:spMkLst>
            <pc:docMk/>
            <pc:sldMk cId="2604812875" sldId="2007579888"/>
            <ac:spMk id="54" creationId="{3AB91BD4-B8E4-4D96-B834-2F1D1D9FA198}"/>
          </ac:spMkLst>
        </pc:spChg>
        <pc:spChg chg="mod">
          <ac:chgData name="TOMIDA, Rei" userId="932807cb-e20e-4938-a276-88bbf4cb8e42" providerId="ADAL" clId="{AD0C3BFC-7C82-4928-BDFE-B514B105C1E6}" dt="2024-02-15T09:35:30.803" v="98" actId="1038"/>
          <ac:spMkLst>
            <pc:docMk/>
            <pc:sldMk cId="2604812875" sldId="2007579888"/>
            <ac:spMk id="58" creationId="{B72F0676-3A0E-2E90-9739-A564EEA1B10D}"/>
          </ac:spMkLst>
        </pc:spChg>
        <pc:spChg chg="mod">
          <ac:chgData name="TOMIDA, Rei" userId="932807cb-e20e-4938-a276-88bbf4cb8e42" providerId="ADAL" clId="{AD0C3BFC-7C82-4928-BDFE-B514B105C1E6}" dt="2024-02-15T09:35:30.803" v="98" actId="1038"/>
          <ac:spMkLst>
            <pc:docMk/>
            <pc:sldMk cId="2604812875" sldId="2007579888"/>
            <ac:spMk id="59" creationId="{A51BB7F6-D938-94BC-9183-E4F728A26366}"/>
          </ac:spMkLst>
        </pc:spChg>
        <pc:spChg chg="mod">
          <ac:chgData name="TOMIDA, Rei" userId="932807cb-e20e-4938-a276-88bbf4cb8e42" providerId="ADAL" clId="{AD0C3BFC-7C82-4928-BDFE-B514B105C1E6}" dt="2024-02-15T09:35:30.803" v="98" actId="1038"/>
          <ac:spMkLst>
            <pc:docMk/>
            <pc:sldMk cId="2604812875" sldId="2007579888"/>
            <ac:spMk id="60" creationId="{FBD9FC9D-C2C6-CF30-C5FC-A5B8366919A0}"/>
          </ac:spMkLst>
        </pc:spChg>
        <pc:spChg chg="mod">
          <ac:chgData name="TOMIDA, Rei" userId="932807cb-e20e-4938-a276-88bbf4cb8e42" providerId="ADAL" clId="{AD0C3BFC-7C82-4928-BDFE-B514B105C1E6}" dt="2024-02-15T09:35:30.803" v="98" actId="1038"/>
          <ac:spMkLst>
            <pc:docMk/>
            <pc:sldMk cId="2604812875" sldId="2007579888"/>
            <ac:spMk id="64" creationId="{378593DF-430E-C4E8-E45B-48BF3BD6A2ED}"/>
          </ac:spMkLst>
        </pc:spChg>
        <pc:spChg chg="mod">
          <ac:chgData name="TOMIDA, Rei" userId="932807cb-e20e-4938-a276-88bbf4cb8e42" providerId="ADAL" clId="{AD0C3BFC-7C82-4928-BDFE-B514B105C1E6}" dt="2024-02-15T09:35:30.803" v="98" actId="1038"/>
          <ac:spMkLst>
            <pc:docMk/>
            <pc:sldMk cId="2604812875" sldId="2007579888"/>
            <ac:spMk id="65" creationId="{947F4448-1810-688F-B291-84EF9E40D1E9}"/>
          </ac:spMkLst>
        </pc:spChg>
        <pc:spChg chg="mod">
          <ac:chgData name="TOMIDA, Rei" userId="932807cb-e20e-4938-a276-88bbf4cb8e42" providerId="ADAL" clId="{AD0C3BFC-7C82-4928-BDFE-B514B105C1E6}" dt="2024-02-15T09:35:30.803" v="98" actId="1038"/>
          <ac:spMkLst>
            <pc:docMk/>
            <pc:sldMk cId="2604812875" sldId="2007579888"/>
            <ac:spMk id="66" creationId="{F57C85B8-CB50-2D0A-EF5E-B7C43845F002}"/>
          </ac:spMkLst>
        </pc:spChg>
        <pc:spChg chg="mod">
          <ac:chgData name="TOMIDA, Rei" userId="932807cb-e20e-4938-a276-88bbf4cb8e42" providerId="ADAL" clId="{AD0C3BFC-7C82-4928-BDFE-B514B105C1E6}" dt="2024-02-15T09:35:30.803" v="98" actId="1038"/>
          <ac:spMkLst>
            <pc:docMk/>
            <pc:sldMk cId="2604812875" sldId="2007579888"/>
            <ac:spMk id="70" creationId="{8243CDBF-71D1-ADF4-B540-7CD31B9F9641}"/>
          </ac:spMkLst>
        </pc:spChg>
        <pc:spChg chg="mod">
          <ac:chgData name="TOMIDA, Rei" userId="932807cb-e20e-4938-a276-88bbf4cb8e42" providerId="ADAL" clId="{AD0C3BFC-7C82-4928-BDFE-B514B105C1E6}" dt="2024-02-15T09:35:30.803" v="98" actId="1038"/>
          <ac:spMkLst>
            <pc:docMk/>
            <pc:sldMk cId="2604812875" sldId="2007579888"/>
            <ac:spMk id="71" creationId="{8158967A-8E26-684E-15CA-B8F485BEBF52}"/>
          </ac:spMkLst>
        </pc:spChg>
        <pc:spChg chg="mod">
          <ac:chgData name="TOMIDA, Rei" userId="932807cb-e20e-4938-a276-88bbf4cb8e42" providerId="ADAL" clId="{AD0C3BFC-7C82-4928-BDFE-B514B105C1E6}" dt="2024-02-15T09:44:07.518" v="189" actId="1036"/>
          <ac:spMkLst>
            <pc:docMk/>
            <pc:sldMk cId="2604812875" sldId="2007579888"/>
            <ac:spMk id="76" creationId="{37B41BB6-DB98-C943-6928-EEA4CB4D620C}"/>
          </ac:spMkLst>
        </pc:spChg>
        <pc:spChg chg="mod">
          <ac:chgData name="TOMIDA, Rei" userId="932807cb-e20e-4938-a276-88bbf4cb8e42" providerId="ADAL" clId="{AD0C3BFC-7C82-4928-BDFE-B514B105C1E6}" dt="2024-02-15T09:44:07.518" v="189" actId="1036"/>
          <ac:spMkLst>
            <pc:docMk/>
            <pc:sldMk cId="2604812875" sldId="2007579888"/>
            <ac:spMk id="80" creationId="{B20B8743-7317-6EC5-824E-1DC409F76A26}"/>
          </ac:spMkLst>
        </pc:spChg>
        <pc:spChg chg="mod">
          <ac:chgData name="TOMIDA, Rei" userId="932807cb-e20e-4938-a276-88bbf4cb8e42" providerId="ADAL" clId="{AD0C3BFC-7C82-4928-BDFE-B514B105C1E6}" dt="2024-02-15T09:44:07.518" v="189" actId="1036"/>
          <ac:spMkLst>
            <pc:docMk/>
            <pc:sldMk cId="2604812875" sldId="2007579888"/>
            <ac:spMk id="81" creationId="{75DAD32F-83D9-3B79-5901-08FB0D71C7E6}"/>
          </ac:spMkLst>
        </pc:spChg>
        <pc:spChg chg="mod">
          <ac:chgData name="TOMIDA, Rei" userId="932807cb-e20e-4938-a276-88bbf4cb8e42" providerId="ADAL" clId="{AD0C3BFC-7C82-4928-BDFE-B514B105C1E6}" dt="2024-02-15T09:44:07.518" v="189" actId="1036"/>
          <ac:spMkLst>
            <pc:docMk/>
            <pc:sldMk cId="2604812875" sldId="2007579888"/>
            <ac:spMk id="82" creationId="{42148F1F-FC89-2750-D828-25CE270FB05B}"/>
          </ac:spMkLst>
        </pc:spChg>
        <pc:spChg chg="mod">
          <ac:chgData name="TOMIDA, Rei" userId="932807cb-e20e-4938-a276-88bbf4cb8e42" providerId="ADAL" clId="{AD0C3BFC-7C82-4928-BDFE-B514B105C1E6}" dt="2024-02-15T09:44:07.518" v="189" actId="1036"/>
          <ac:spMkLst>
            <pc:docMk/>
            <pc:sldMk cId="2604812875" sldId="2007579888"/>
            <ac:spMk id="86" creationId="{C339582C-21D4-AC0C-E0E1-81EED510A7FB}"/>
          </ac:spMkLst>
        </pc:spChg>
        <pc:spChg chg="mod">
          <ac:chgData name="TOMIDA, Rei" userId="932807cb-e20e-4938-a276-88bbf4cb8e42" providerId="ADAL" clId="{AD0C3BFC-7C82-4928-BDFE-B514B105C1E6}" dt="2024-02-15T09:44:07.518" v="189" actId="1036"/>
          <ac:spMkLst>
            <pc:docMk/>
            <pc:sldMk cId="2604812875" sldId="2007579888"/>
            <ac:spMk id="87" creationId="{CA114C2F-1C32-4C4E-AC22-91E9B66A6B72}"/>
          </ac:spMkLst>
        </pc:spChg>
        <pc:spChg chg="mod">
          <ac:chgData name="TOMIDA, Rei" userId="932807cb-e20e-4938-a276-88bbf4cb8e42" providerId="ADAL" clId="{AD0C3BFC-7C82-4928-BDFE-B514B105C1E6}" dt="2024-02-15T09:44:07.518" v="189" actId="1036"/>
          <ac:spMkLst>
            <pc:docMk/>
            <pc:sldMk cId="2604812875" sldId="2007579888"/>
            <ac:spMk id="88" creationId="{C845CA0C-FC3B-892B-27EE-F15BB42314C9}"/>
          </ac:spMkLst>
        </pc:spChg>
        <pc:spChg chg="mod">
          <ac:chgData name="TOMIDA, Rei" userId="932807cb-e20e-4938-a276-88bbf4cb8e42" providerId="ADAL" clId="{AD0C3BFC-7C82-4928-BDFE-B514B105C1E6}" dt="2024-02-15T09:44:07.518" v="189" actId="1036"/>
          <ac:spMkLst>
            <pc:docMk/>
            <pc:sldMk cId="2604812875" sldId="2007579888"/>
            <ac:spMk id="92" creationId="{F56468B2-3010-5A53-8A6B-3A5C9759D3CA}"/>
          </ac:spMkLst>
        </pc:spChg>
        <pc:spChg chg="mod">
          <ac:chgData name="TOMIDA, Rei" userId="932807cb-e20e-4938-a276-88bbf4cb8e42" providerId="ADAL" clId="{AD0C3BFC-7C82-4928-BDFE-B514B105C1E6}" dt="2024-02-15T09:44:07.518" v="189" actId="1036"/>
          <ac:spMkLst>
            <pc:docMk/>
            <pc:sldMk cId="2604812875" sldId="2007579888"/>
            <ac:spMk id="93" creationId="{37F23B55-D0B7-5825-BC4C-A41E0396E5A2}"/>
          </ac:spMkLst>
        </pc:spChg>
        <pc:spChg chg="mod">
          <ac:chgData name="TOMIDA, Rei" userId="932807cb-e20e-4938-a276-88bbf4cb8e42" providerId="ADAL" clId="{AD0C3BFC-7C82-4928-BDFE-B514B105C1E6}" dt="2024-02-15T09:43:59.973" v="176" actId="1036"/>
          <ac:spMkLst>
            <pc:docMk/>
            <pc:sldMk cId="2604812875" sldId="2007579888"/>
            <ac:spMk id="98" creationId="{459AF787-C44F-51EE-0791-7E1E27B9C80B}"/>
          </ac:spMkLst>
        </pc:spChg>
        <pc:spChg chg="mod">
          <ac:chgData name="TOMIDA, Rei" userId="932807cb-e20e-4938-a276-88bbf4cb8e42" providerId="ADAL" clId="{AD0C3BFC-7C82-4928-BDFE-B514B105C1E6}" dt="2024-02-15T09:43:59.973" v="176" actId="1036"/>
          <ac:spMkLst>
            <pc:docMk/>
            <pc:sldMk cId="2604812875" sldId="2007579888"/>
            <ac:spMk id="102" creationId="{D5C8C014-1D13-F4BB-DC6C-80BC6F7CC7CE}"/>
          </ac:spMkLst>
        </pc:spChg>
        <pc:spChg chg="mod">
          <ac:chgData name="TOMIDA, Rei" userId="932807cb-e20e-4938-a276-88bbf4cb8e42" providerId="ADAL" clId="{AD0C3BFC-7C82-4928-BDFE-B514B105C1E6}" dt="2024-02-15T09:43:59.973" v="176" actId="1036"/>
          <ac:spMkLst>
            <pc:docMk/>
            <pc:sldMk cId="2604812875" sldId="2007579888"/>
            <ac:spMk id="103" creationId="{FEDF6C1B-9E5F-EE78-0675-A11870C266DA}"/>
          </ac:spMkLst>
        </pc:spChg>
        <pc:spChg chg="mod">
          <ac:chgData name="TOMIDA, Rei" userId="932807cb-e20e-4938-a276-88bbf4cb8e42" providerId="ADAL" clId="{AD0C3BFC-7C82-4928-BDFE-B514B105C1E6}" dt="2024-02-15T09:43:59.973" v="176" actId="1036"/>
          <ac:spMkLst>
            <pc:docMk/>
            <pc:sldMk cId="2604812875" sldId="2007579888"/>
            <ac:spMk id="104" creationId="{4B0DAA99-D6E4-23D0-3BE8-2377673F1C03}"/>
          </ac:spMkLst>
        </pc:spChg>
        <pc:spChg chg="mod">
          <ac:chgData name="TOMIDA, Rei" userId="932807cb-e20e-4938-a276-88bbf4cb8e42" providerId="ADAL" clId="{AD0C3BFC-7C82-4928-BDFE-B514B105C1E6}" dt="2024-02-15T09:43:59.973" v="176" actId="1036"/>
          <ac:spMkLst>
            <pc:docMk/>
            <pc:sldMk cId="2604812875" sldId="2007579888"/>
            <ac:spMk id="108" creationId="{22991430-930C-8844-07A6-B87150238FDD}"/>
          </ac:spMkLst>
        </pc:spChg>
        <pc:spChg chg="mod">
          <ac:chgData name="TOMIDA, Rei" userId="932807cb-e20e-4938-a276-88bbf4cb8e42" providerId="ADAL" clId="{AD0C3BFC-7C82-4928-BDFE-B514B105C1E6}" dt="2024-02-15T09:43:59.973" v="176" actId="1036"/>
          <ac:spMkLst>
            <pc:docMk/>
            <pc:sldMk cId="2604812875" sldId="2007579888"/>
            <ac:spMk id="109" creationId="{6E03A4D1-05B9-BBEE-54C5-A467A3E777AA}"/>
          </ac:spMkLst>
        </pc:spChg>
        <pc:spChg chg="mod">
          <ac:chgData name="TOMIDA, Rei" userId="932807cb-e20e-4938-a276-88bbf4cb8e42" providerId="ADAL" clId="{AD0C3BFC-7C82-4928-BDFE-B514B105C1E6}" dt="2024-02-15T09:43:59.973" v="176" actId="1036"/>
          <ac:spMkLst>
            <pc:docMk/>
            <pc:sldMk cId="2604812875" sldId="2007579888"/>
            <ac:spMk id="110" creationId="{D84A50C9-7974-85C8-B597-3F1013F1FC9D}"/>
          </ac:spMkLst>
        </pc:spChg>
        <pc:spChg chg="mod">
          <ac:chgData name="TOMIDA, Rei" userId="932807cb-e20e-4938-a276-88bbf4cb8e42" providerId="ADAL" clId="{AD0C3BFC-7C82-4928-BDFE-B514B105C1E6}" dt="2024-02-15T09:43:59.973" v="176" actId="1036"/>
          <ac:spMkLst>
            <pc:docMk/>
            <pc:sldMk cId="2604812875" sldId="2007579888"/>
            <ac:spMk id="114" creationId="{33BEEDA3-202D-4EE4-FBFE-EA7FB50197AA}"/>
          </ac:spMkLst>
        </pc:spChg>
        <pc:spChg chg="mod">
          <ac:chgData name="TOMIDA, Rei" userId="932807cb-e20e-4938-a276-88bbf4cb8e42" providerId="ADAL" clId="{AD0C3BFC-7C82-4928-BDFE-B514B105C1E6}" dt="2024-02-15T09:43:59.973" v="176" actId="1036"/>
          <ac:spMkLst>
            <pc:docMk/>
            <pc:sldMk cId="2604812875" sldId="2007579888"/>
            <ac:spMk id="115" creationId="{2C47EEC6-6D0F-B514-B580-00E8DFAA65B0}"/>
          </ac:spMkLst>
        </pc:spChg>
        <pc:spChg chg="mod">
          <ac:chgData name="TOMIDA, Rei" userId="932807cb-e20e-4938-a276-88bbf4cb8e42" providerId="ADAL" clId="{AD0C3BFC-7C82-4928-BDFE-B514B105C1E6}" dt="2024-02-15T09:43:44.563" v="166" actId="14100"/>
          <ac:spMkLst>
            <pc:docMk/>
            <pc:sldMk cId="2604812875" sldId="2007579888"/>
            <ac:spMk id="120" creationId="{5F2FEC87-0B36-B95E-7323-76ED98A58C54}"/>
          </ac:spMkLst>
        </pc:spChg>
        <pc:spChg chg="mod">
          <ac:chgData name="TOMIDA, Rei" userId="932807cb-e20e-4938-a276-88bbf4cb8e42" providerId="ADAL" clId="{AD0C3BFC-7C82-4928-BDFE-B514B105C1E6}" dt="2024-02-15T09:43:44.563" v="166" actId="14100"/>
          <ac:spMkLst>
            <pc:docMk/>
            <pc:sldMk cId="2604812875" sldId="2007579888"/>
            <ac:spMk id="124" creationId="{4E6D0A7D-8F86-7D16-4844-A748B2D408D1}"/>
          </ac:spMkLst>
        </pc:spChg>
        <pc:spChg chg="mod">
          <ac:chgData name="TOMIDA, Rei" userId="932807cb-e20e-4938-a276-88bbf4cb8e42" providerId="ADAL" clId="{AD0C3BFC-7C82-4928-BDFE-B514B105C1E6}" dt="2024-02-15T09:43:44.563" v="166" actId="14100"/>
          <ac:spMkLst>
            <pc:docMk/>
            <pc:sldMk cId="2604812875" sldId="2007579888"/>
            <ac:spMk id="125" creationId="{23F9EFE1-A3D7-42CC-90F1-07E37FE30C9F}"/>
          </ac:spMkLst>
        </pc:spChg>
        <pc:spChg chg="mod">
          <ac:chgData name="TOMIDA, Rei" userId="932807cb-e20e-4938-a276-88bbf4cb8e42" providerId="ADAL" clId="{AD0C3BFC-7C82-4928-BDFE-B514B105C1E6}" dt="2024-02-15T09:43:44.563" v="166" actId="14100"/>
          <ac:spMkLst>
            <pc:docMk/>
            <pc:sldMk cId="2604812875" sldId="2007579888"/>
            <ac:spMk id="126" creationId="{00FD7498-F043-CF1D-C817-FF6D791CB91E}"/>
          </ac:spMkLst>
        </pc:spChg>
        <pc:spChg chg="mod">
          <ac:chgData name="TOMIDA, Rei" userId="932807cb-e20e-4938-a276-88bbf4cb8e42" providerId="ADAL" clId="{AD0C3BFC-7C82-4928-BDFE-B514B105C1E6}" dt="2024-02-15T09:43:44.563" v="166" actId="14100"/>
          <ac:spMkLst>
            <pc:docMk/>
            <pc:sldMk cId="2604812875" sldId="2007579888"/>
            <ac:spMk id="130" creationId="{48389ED1-A1B9-BAFA-0545-7C66893A6882}"/>
          </ac:spMkLst>
        </pc:spChg>
        <pc:spChg chg="mod">
          <ac:chgData name="TOMIDA, Rei" userId="932807cb-e20e-4938-a276-88bbf4cb8e42" providerId="ADAL" clId="{AD0C3BFC-7C82-4928-BDFE-B514B105C1E6}" dt="2024-02-15T09:43:44.563" v="166" actId="14100"/>
          <ac:spMkLst>
            <pc:docMk/>
            <pc:sldMk cId="2604812875" sldId="2007579888"/>
            <ac:spMk id="131" creationId="{6BAD48E7-D754-61CB-2988-511B6F8E7E34}"/>
          </ac:spMkLst>
        </pc:spChg>
        <pc:spChg chg="mod">
          <ac:chgData name="TOMIDA, Rei" userId="932807cb-e20e-4938-a276-88bbf4cb8e42" providerId="ADAL" clId="{AD0C3BFC-7C82-4928-BDFE-B514B105C1E6}" dt="2024-02-15T09:43:44.563" v="166" actId="14100"/>
          <ac:spMkLst>
            <pc:docMk/>
            <pc:sldMk cId="2604812875" sldId="2007579888"/>
            <ac:spMk id="132" creationId="{181A8222-76D1-F206-11E5-4280F702CAE4}"/>
          </ac:spMkLst>
        </pc:spChg>
        <pc:spChg chg="mod">
          <ac:chgData name="TOMIDA, Rei" userId="932807cb-e20e-4938-a276-88bbf4cb8e42" providerId="ADAL" clId="{AD0C3BFC-7C82-4928-BDFE-B514B105C1E6}" dt="2024-02-15T09:43:44.563" v="166" actId="14100"/>
          <ac:spMkLst>
            <pc:docMk/>
            <pc:sldMk cId="2604812875" sldId="2007579888"/>
            <ac:spMk id="136" creationId="{5A18C3B9-E60A-05E7-EEB1-47AF183D6D66}"/>
          </ac:spMkLst>
        </pc:spChg>
        <pc:spChg chg="mod">
          <ac:chgData name="TOMIDA, Rei" userId="932807cb-e20e-4938-a276-88bbf4cb8e42" providerId="ADAL" clId="{AD0C3BFC-7C82-4928-BDFE-B514B105C1E6}" dt="2024-02-15T09:43:44.563" v="166" actId="14100"/>
          <ac:spMkLst>
            <pc:docMk/>
            <pc:sldMk cId="2604812875" sldId="2007579888"/>
            <ac:spMk id="137" creationId="{89F5144F-5E24-4069-532E-FFBFB0B26AF4}"/>
          </ac:spMkLst>
        </pc:spChg>
        <pc:spChg chg="mod">
          <ac:chgData name="TOMIDA, Rei" userId="932807cb-e20e-4938-a276-88bbf4cb8e42" providerId="ADAL" clId="{AD0C3BFC-7C82-4928-BDFE-B514B105C1E6}" dt="2024-02-15T09:40:31.147" v="103"/>
          <ac:spMkLst>
            <pc:docMk/>
            <pc:sldMk cId="2604812875" sldId="2007579888"/>
            <ac:spMk id="142" creationId="{D3434147-46F4-F9C9-ECA1-823E71FE7B1F}"/>
          </ac:spMkLst>
        </pc:spChg>
        <pc:spChg chg="mod">
          <ac:chgData name="TOMIDA, Rei" userId="932807cb-e20e-4938-a276-88bbf4cb8e42" providerId="ADAL" clId="{AD0C3BFC-7C82-4928-BDFE-B514B105C1E6}" dt="2024-02-15T09:40:31.147" v="103"/>
          <ac:spMkLst>
            <pc:docMk/>
            <pc:sldMk cId="2604812875" sldId="2007579888"/>
            <ac:spMk id="146" creationId="{BCE48827-0F37-BB01-B0C5-7109526C454A}"/>
          </ac:spMkLst>
        </pc:spChg>
        <pc:spChg chg="mod">
          <ac:chgData name="TOMIDA, Rei" userId="932807cb-e20e-4938-a276-88bbf4cb8e42" providerId="ADAL" clId="{AD0C3BFC-7C82-4928-BDFE-B514B105C1E6}" dt="2024-02-15T09:40:31.147" v="103"/>
          <ac:spMkLst>
            <pc:docMk/>
            <pc:sldMk cId="2604812875" sldId="2007579888"/>
            <ac:spMk id="147" creationId="{B0D7BA9D-C34B-A21F-0FC0-0F4172EE122F}"/>
          </ac:spMkLst>
        </pc:spChg>
        <pc:spChg chg="mod">
          <ac:chgData name="TOMIDA, Rei" userId="932807cb-e20e-4938-a276-88bbf4cb8e42" providerId="ADAL" clId="{AD0C3BFC-7C82-4928-BDFE-B514B105C1E6}" dt="2024-02-15T09:40:31.147" v="103"/>
          <ac:spMkLst>
            <pc:docMk/>
            <pc:sldMk cId="2604812875" sldId="2007579888"/>
            <ac:spMk id="148" creationId="{E8864B9C-1C55-C608-D331-25D3CC89C5C5}"/>
          </ac:spMkLst>
        </pc:spChg>
        <pc:spChg chg="mod">
          <ac:chgData name="TOMIDA, Rei" userId="932807cb-e20e-4938-a276-88bbf4cb8e42" providerId="ADAL" clId="{AD0C3BFC-7C82-4928-BDFE-B514B105C1E6}" dt="2024-02-15T09:40:31.147" v="103"/>
          <ac:spMkLst>
            <pc:docMk/>
            <pc:sldMk cId="2604812875" sldId="2007579888"/>
            <ac:spMk id="152" creationId="{747CBBD8-45A3-36D8-C25E-F81E955A1094}"/>
          </ac:spMkLst>
        </pc:spChg>
        <pc:spChg chg="mod">
          <ac:chgData name="TOMIDA, Rei" userId="932807cb-e20e-4938-a276-88bbf4cb8e42" providerId="ADAL" clId="{AD0C3BFC-7C82-4928-BDFE-B514B105C1E6}" dt="2024-02-15T09:40:31.147" v="103"/>
          <ac:spMkLst>
            <pc:docMk/>
            <pc:sldMk cId="2604812875" sldId="2007579888"/>
            <ac:spMk id="153" creationId="{2CC3AC49-B5FE-E58F-A2F3-D41F7F5FD737}"/>
          </ac:spMkLst>
        </pc:spChg>
        <pc:spChg chg="mod">
          <ac:chgData name="TOMIDA, Rei" userId="932807cb-e20e-4938-a276-88bbf4cb8e42" providerId="ADAL" clId="{AD0C3BFC-7C82-4928-BDFE-B514B105C1E6}" dt="2024-02-15T09:40:31.147" v="103"/>
          <ac:spMkLst>
            <pc:docMk/>
            <pc:sldMk cId="2604812875" sldId="2007579888"/>
            <ac:spMk id="154" creationId="{A555C8CA-02E7-6078-9512-A0655550EF45}"/>
          </ac:spMkLst>
        </pc:spChg>
        <pc:spChg chg="mod">
          <ac:chgData name="TOMIDA, Rei" userId="932807cb-e20e-4938-a276-88bbf4cb8e42" providerId="ADAL" clId="{AD0C3BFC-7C82-4928-BDFE-B514B105C1E6}" dt="2024-02-15T09:40:31.147" v="103"/>
          <ac:spMkLst>
            <pc:docMk/>
            <pc:sldMk cId="2604812875" sldId="2007579888"/>
            <ac:spMk id="158" creationId="{C3572B23-544A-3EAC-8EAE-A04F385CC202}"/>
          </ac:spMkLst>
        </pc:spChg>
        <pc:spChg chg="mod">
          <ac:chgData name="TOMIDA, Rei" userId="932807cb-e20e-4938-a276-88bbf4cb8e42" providerId="ADAL" clId="{AD0C3BFC-7C82-4928-BDFE-B514B105C1E6}" dt="2024-02-15T09:40:31.147" v="103"/>
          <ac:spMkLst>
            <pc:docMk/>
            <pc:sldMk cId="2604812875" sldId="2007579888"/>
            <ac:spMk id="159" creationId="{B0DECB47-0160-635E-5629-0ABD2AF0B3B3}"/>
          </ac:spMkLst>
        </pc:spChg>
        <pc:spChg chg="mod">
          <ac:chgData name="TOMIDA, Rei" userId="932807cb-e20e-4938-a276-88bbf4cb8e42" providerId="ADAL" clId="{AD0C3BFC-7C82-4928-BDFE-B514B105C1E6}" dt="2024-02-15T09:40:31.147" v="103"/>
          <ac:spMkLst>
            <pc:docMk/>
            <pc:sldMk cId="2604812875" sldId="2007579888"/>
            <ac:spMk id="164" creationId="{6216FB41-2613-BCE3-47FF-2439ACDFC7C7}"/>
          </ac:spMkLst>
        </pc:spChg>
        <pc:spChg chg="mod">
          <ac:chgData name="TOMIDA, Rei" userId="932807cb-e20e-4938-a276-88bbf4cb8e42" providerId="ADAL" clId="{AD0C3BFC-7C82-4928-BDFE-B514B105C1E6}" dt="2024-02-15T09:40:31.147" v="103"/>
          <ac:spMkLst>
            <pc:docMk/>
            <pc:sldMk cId="2604812875" sldId="2007579888"/>
            <ac:spMk id="168" creationId="{10791D7F-B74F-A924-027F-46AF92D73CF3}"/>
          </ac:spMkLst>
        </pc:spChg>
        <pc:spChg chg="mod">
          <ac:chgData name="TOMIDA, Rei" userId="932807cb-e20e-4938-a276-88bbf4cb8e42" providerId="ADAL" clId="{AD0C3BFC-7C82-4928-BDFE-B514B105C1E6}" dt="2024-02-15T09:40:31.147" v="103"/>
          <ac:spMkLst>
            <pc:docMk/>
            <pc:sldMk cId="2604812875" sldId="2007579888"/>
            <ac:spMk id="169" creationId="{85B082C8-66C0-141C-1796-ACF30DC23735}"/>
          </ac:spMkLst>
        </pc:spChg>
        <pc:spChg chg="mod">
          <ac:chgData name="TOMIDA, Rei" userId="932807cb-e20e-4938-a276-88bbf4cb8e42" providerId="ADAL" clId="{AD0C3BFC-7C82-4928-BDFE-B514B105C1E6}" dt="2024-02-15T09:40:31.147" v="103"/>
          <ac:spMkLst>
            <pc:docMk/>
            <pc:sldMk cId="2604812875" sldId="2007579888"/>
            <ac:spMk id="170" creationId="{1D2808A4-A61D-F178-98CC-2337C6703651}"/>
          </ac:spMkLst>
        </pc:spChg>
        <pc:spChg chg="mod">
          <ac:chgData name="TOMIDA, Rei" userId="932807cb-e20e-4938-a276-88bbf4cb8e42" providerId="ADAL" clId="{AD0C3BFC-7C82-4928-BDFE-B514B105C1E6}" dt="2024-02-15T09:40:31.147" v="103"/>
          <ac:spMkLst>
            <pc:docMk/>
            <pc:sldMk cId="2604812875" sldId="2007579888"/>
            <ac:spMk id="174" creationId="{6A8BC36F-522A-0015-966C-A3222D02DB7A}"/>
          </ac:spMkLst>
        </pc:spChg>
        <pc:spChg chg="mod">
          <ac:chgData name="TOMIDA, Rei" userId="932807cb-e20e-4938-a276-88bbf4cb8e42" providerId="ADAL" clId="{AD0C3BFC-7C82-4928-BDFE-B514B105C1E6}" dt="2024-02-15T09:40:31.147" v="103"/>
          <ac:spMkLst>
            <pc:docMk/>
            <pc:sldMk cId="2604812875" sldId="2007579888"/>
            <ac:spMk id="175" creationId="{4F173201-1312-23EF-0FFF-025C07F10F54}"/>
          </ac:spMkLst>
        </pc:spChg>
        <pc:spChg chg="mod">
          <ac:chgData name="TOMIDA, Rei" userId="932807cb-e20e-4938-a276-88bbf4cb8e42" providerId="ADAL" clId="{AD0C3BFC-7C82-4928-BDFE-B514B105C1E6}" dt="2024-02-15T09:40:31.147" v="103"/>
          <ac:spMkLst>
            <pc:docMk/>
            <pc:sldMk cId="2604812875" sldId="2007579888"/>
            <ac:spMk id="176" creationId="{3A120DB5-6DD2-43B0-F7E0-8E799F94377E}"/>
          </ac:spMkLst>
        </pc:spChg>
        <pc:spChg chg="mod">
          <ac:chgData name="TOMIDA, Rei" userId="932807cb-e20e-4938-a276-88bbf4cb8e42" providerId="ADAL" clId="{AD0C3BFC-7C82-4928-BDFE-B514B105C1E6}" dt="2024-02-15T09:40:31.147" v="103"/>
          <ac:spMkLst>
            <pc:docMk/>
            <pc:sldMk cId="2604812875" sldId="2007579888"/>
            <ac:spMk id="180" creationId="{230BA7AE-7A9B-0810-04DC-9AC270D690AA}"/>
          </ac:spMkLst>
        </pc:spChg>
        <pc:spChg chg="mod">
          <ac:chgData name="TOMIDA, Rei" userId="932807cb-e20e-4938-a276-88bbf4cb8e42" providerId="ADAL" clId="{AD0C3BFC-7C82-4928-BDFE-B514B105C1E6}" dt="2024-02-15T09:40:31.147" v="103"/>
          <ac:spMkLst>
            <pc:docMk/>
            <pc:sldMk cId="2604812875" sldId="2007579888"/>
            <ac:spMk id="181" creationId="{44F71BDD-BEDD-F7FB-0FF3-64BD630B9358}"/>
          </ac:spMkLst>
        </pc:spChg>
        <pc:spChg chg="mod">
          <ac:chgData name="TOMIDA, Rei" userId="932807cb-e20e-4938-a276-88bbf4cb8e42" providerId="ADAL" clId="{AD0C3BFC-7C82-4928-BDFE-B514B105C1E6}" dt="2024-02-15T09:40:31.147" v="103"/>
          <ac:spMkLst>
            <pc:docMk/>
            <pc:sldMk cId="2604812875" sldId="2007579888"/>
            <ac:spMk id="186" creationId="{9BA16CBC-9BB1-E91A-2CA2-C2A6FC6F9CC9}"/>
          </ac:spMkLst>
        </pc:spChg>
        <pc:spChg chg="mod">
          <ac:chgData name="TOMIDA, Rei" userId="932807cb-e20e-4938-a276-88bbf4cb8e42" providerId="ADAL" clId="{AD0C3BFC-7C82-4928-BDFE-B514B105C1E6}" dt="2024-02-15T09:40:31.147" v="103"/>
          <ac:spMkLst>
            <pc:docMk/>
            <pc:sldMk cId="2604812875" sldId="2007579888"/>
            <ac:spMk id="190" creationId="{A1D511C4-514B-8189-3FA5-E0DB00DBA246}"/>
          </ac:spMkLst>
        </pc:spChg>
        <pc:spChg chg="mod">
          <ac:chgData name="TOMIDA, Rei" userId="932807cb-e20e-4938-a276-88bbf4cb8e42" providerId="ADAL" clId="{AD0C3BFC-7C82-4928-BDFE-B514B105C1E6}" dt="2024-02-15T09:40:31.147" v="103"/>
          <ac:spMkLst>
            <pc:docMk/>
            <pc:sldMk cId="2604812875" sldId="2007579888"/>
            <ac:spMk id="191" creationId="{FB719127-F14C-7519-2E7F-4F73162996CF}"/>
          </ac:spMkLst>
        </pc:spChg>
        <pc:spChg chg="mod">
          <ac:chgData name="TOMIDA, Rei" userId="932807cb-e20e-4938-a276-88bbf4cb8e42" providerId="ADAL" clId="{AD0C3BFC-7C82-4928-BDFE-B514B105C1E6}" dt="2024-02-15T09:40:31.147" v="103"/>
          <ac:spMkLst>
            <pc:docMk/>
            <pc:sldMk cId="2604812875" sldId="2007579888"/>
            <ac:spMk id="192" creationId="{95E7C512-2AEC-5D80-49CF-C6B84A4329F2}"/>
          </ac:spMkLst>
        </pc:spChg>
        <pc:spChg chg="mod">
          <ac:chgData name="TOMIDA, Rei" userId="932807cb-e20e-4938-a276-88bbf4cb8e42" providerId="ADAL" clId="{AD0C3BFC-7C82-4928-BDFE-B514B105C1E6}" dt="2024-02-15T09:40:31.147" v="103"/>
          <ac:spMkLst>
            <pc:docMk/>
            <pc:sldMk cId="2604812875" sldId="2007579888"/>
            <ac:spMk id="196" creationId="{E6875891-FE25-6CC5-232B-9F1DF7D313EA}"/>
          </ac:spMkLst>
        </pc:spChg>
        <pc:spChg chg="mod">
          <ac:chgData name="TOMIDA, Rei" userId="932807cb-e20e-4938-a276-88bbf4cb8e42" providerId="ADAL" clId="{AD0C3BFC-7C82-4928-BDFE-B514B105C1E6}" dt="2024-02-15T09:40:31.147" v="103"/>
          <ac:spMkLst>
            <pc:docMk/>
            <pc:sldMk cId="2604812875" sldId="2007579888"/>
            <ac:spMk id="197" creationId="{CB1FD97B-CA98-0268-5AC6-90F4DF5B48F3}"/>
          </ac:spMkLst>
        </pc:spChg>
        <pc:spChg chg="mod">
          <ac:chgData name="TOMIDA, Rei" userId="932807cb-e20e-4938-a276-88bbf4cb8e42" providerId="ADAL" clId="{AD0C3BFC-7C82-4928-BDFE-B514B105C1E6}" dt="2024-02-15T09:40:31.147" v="103"/>
          <ac:spMkLst>
            <pc:docMk/>
            <pc:sldMk cId="2604812875" sldId="2007579888"/>
            <ac:spMk id="198" creationId="{36601A9F-7AB2-FB1B-9CF0-0568534C7530}"/>
          </ac:spMkLst>
        </pc:spChg>
        <pc:spChg chg="mod">
          <ac:chgData name="TOMIDA, Rei" userId="932807cb-e20e-4938-a276-88bbf4cb8e42" providerId="ADAL" clId="{AD0C3BFC-7C82-4928-BDFE-B514B105C1E6}" dt="2024-02-15T09:40:31.147" v="103"/>
          <ac:spMkLst>
            <pc:docMk/>
            <pc:sldMk cId="2604812875" sldId="2007579888"/>
            <ac:spMk id="202" creationId="{DA1A859A-F23A-6117-0C41-B49F99648356}"/>
          </ac:spMkLst>
        </pc:spChg>
        <pc:spChg chg="mod">
          <ac:chgData name="TOMIDA, Rei" userId="932807cb-e20e-4938-a276-88bbf4cb8e42" providerId="ADAL" clId="{AD0C3BFC-7C82-4928-BDFE-B514B105C1E6}" dt="2024-02-15T09:40:31.147" v="103"/>
          <ac:spMkLst>
            <pc:docMk/>
            <pc:sldMk cId="2604812875" sldId="2007579888"/>
            <ac:spMk id="203" creationId="{0BD39BE9-6517-43AE-95B8-D82F9F125A21}"/>
          </ac:spMkLst>
        </pc:spChg>
        <pc:spChg chg="add mod">
          <ac:chgData name="TOMIDA, Rei" userId="932807cb-e20e-4938-a276-88bbf4cb8e42" providerId="ADAL" clId="{AD0C3BFC-7C82-4928-BDFE-B514B105C1E6}" dt="2024-02-15T09:44:07.518" v="189" actId="1036"/>
          <ac:spMkLst>
            <pc:docMk/>
            <pc:sldMk cId="2604812875" sldId="2007579888"/>
            <ac:spMk id="204" creationId="{6C21A920-0123-2840-8C78-F4636D8DB1E9}"/>
          </ac:spMkLst>
        </pc:spChg>
        <pc:spChg chg="add mod">
          <ac:chgData name="TOMIDA, Rei" userId="932807cb-e20e-4938-a276-88bbf4cb8e42" providerId="ADAL" clId="{AD0C3BFC-7C82-4928-BDFE-B514B105C1E6}" dt="2024-02-15T09:53:19.566" v="335"/>
          <ac:spMkLst>
            <pc:docMk/>
            <pc:sldMk cId="2604812875" sldId="2007579888"/>
            <ac:spMk id="205" creationId="{867A1E95-906B-E7D8-E407-FCF4BC2BE185}"/>
          </ac:spMkLst>
        </pc:spChg>
        <pc:spChg chg="add mod">
          <ac:chgData name="TOMIDA, Rei" userId="932807cb-e20e-4938-a276-88bbf4cb8e42" providerId="ADAL" clId="{AD0C3BFC-7C82-4928-BDFE-B514B105C1E6}" dt="2024-02-15T09:44:07.518" v="189" actId="1036"/>
          <ac:spMkLst>
            <pc:docMk/>
            <pc:sldMk cId="2604812875" sldId="2007579888"/>
            <ac:spMk id="206" creationId="{1E9F3329-BEDA-CCA6-5A92-929A50885F92}"/>
          </ac:spMkLst>
        </pc:spChg>
        <pc:spChg chg="add mod">
          <ac:chgData name="TOMIDA, Rei" userId="932807cb-e20e-4938-a276-88bbf4cb8e42" providerId="ADAL" clId="{AD0C3BFC-7C82-4928-BDFE-B514B105C1E6}" dt="2024-02-15T09:51:48.381" v="268"/>
          <ac:spMkLst>
            <pc:docMk/>
            <pc:sldMk cId="2604812875" sldId="2007579888"/>
            <ac:spMk id="207" creationId="{6455F8A7-096E-65E9-ECF3-6CFD36BADDCB}"/>
          </ac:spMkLst>
        </pc:spChg>
        <pc:spChg chg="add mod">
          <ac:chgData name="TOMIDA, Rei" userId="932807cb-e20e-4938-a276-88bbf4cb8e42" providerId="ADAL" clId="{AD0C3BFC-7C82-4928-BDFE-B514B105C1E6}" dt="2024-02-15T09:43:59.973" v="176" actId="1036"/>
          <ac:spMkLst>
            <pc:docMk/>
            <pc:sldMk cId="2604812875" sldId="2007579888"/>
            <ac:spMk id="208" creationId="{C832A085-51F6-475E-4B6E-0C9AF1EC04F0}"/>
          </ac:spMkLst>
        </pc:spChg>
        <pc:spChg chg="add mod">
          <ac:chgData name="TOMIDA, Rei" userId="932807cb-e20e-4938-a276-88bbf4cb8e42" providerId="ADAL" clId="{AD0C3BFC-7C82-4928-BDFE-B514B105C1E6}" dt="2024-02-15T09:52:05.771" v="322"/>
          <ac:spMkLst>
            <pc:docMk/>
            <pc:sldMk cId="2604812875" sldId="2007579888"/>
            <ac:spMk id="209" creationId="{66F0E288-ADA3-9D2C-E197-72862AEE80FD}"/>
          </ac:spMkLst>
        </pc:spChg>
        <pc:spChg chg="add mod">
          <ac:chgData name="TOMIDA, Rei" userId="932807cb-e20e-4938-a276-88bbf4cb8e42" providerId="ADAL" clId="{AD0C3BFC-7C82-4928-BDFE-B514B105C1E6}" dt="2024-02-15T09:53:33.620" v="337" actId="20577"/>
          <ac:spMkLst>
            <pc:docMk/>
            <pc:sldMk cId="2604812875" sldId="2007579888"/>
            <ac:spMk id="210" creationId="{46C5574F-8ED8-084C-BB06-6C6B8675270C}"/>
          </ac:spMkLst>
        </pc:spChg>
        <pc:spChg chg="add mod">
          <ac:chgData name="TOMIDA, Rei" userId="932807cb-e20e-4938-a276-88bbf4cb8e42" providerId="ADAL" clId="{AD0C3BFC-7C82-4928-BDFE-B514B105C1E6}" dt="2024-02-15T09:43:44.563" v="166" actId="14100"/>
          <ac:spMkLst>
            <pc:docMk/>
            <pc:sldMk cId="2604812875" sldId="2007579888"/>
            <ac:spMk id="211" creationId="{2BB86194-3EB5-FEAD-1E86-0502DD5A60F2}"/>
          </ac:spMkLst>
        </pc:spChg>
        <pc:spChg chg="add mod">
          <ac:chgData name="TOMIDA, Rei" userId="932807cb-e20e-4938-a276-88bbf4cb8e42" providerId="ADAL" clId="{AD0C3BFC-7C82-4928-BDFE-B514B105C1E6}" dt="2024-02-15T09:51:04.264" v="229"/>
          <ac:spMkLst>
            <pc:docMk/>
            <pc:sldMk cId="2604812875" sldId="2007579888"/>
            <ac:spMk id="212" creationId="{FA226AAD-66B9-148A-E84E-4DDB685FF8DA}"/>
          </ac:spMkLst>
        </pc:spChg>
        <pc:spChg chg="add mod">
          <ac:chgData name="TOMIDA, Rei" userId="932807cb-e20e-4938-a276-88bbf4cb8e42" providerId="ADAL" clId="{AD0C3BFC-7C82-4928-BDFE-B514B105C1E6}" dt="2024-02-15T09:49:04.986" v="213" actId="20577"/>
          <ac:spMkLst>
            <pc:docMk/>
            <pc:sldMk cId="2604812875" sldId="2007579888"/>
            <ac:spMk id="213" creationId="{94898FE2-3C2A-7B3A-D4DC-736F7092CF75}"/>
          </ac:spMkLst>
        </pc:spChg>
        <pc:spChg chg="add del mod">
          <ac:chgData name="TOMIDA, Rei" userId="932807cb-e20e-4938-a276-88bbf4cb8e42" providerId="ADAL" clId="{AD0C3BFC-7C82-4928-BDFE-B514B105C1E6}" dt="2024-02-15T09:49:21.832" v="215"/>
          <ac:spMkLst>
            <pc:docMk/>
            <pc:sldMk cId="2604812875" sldId="2007579888"/>
            <ac:spMk id="214" creationId="{E98CE15F-8548-E33A-10F2-80A0929A5BF6}"/>
          </ac:spMkLst>
        </pc:spChg>
        <pc:spChg chg="add del mod">
          <ac:chgData name="TOMIDA, Rei" userId="932807cb-e20e-4938-a276-88bbf4cb8e42" providerId="ADAL" clId="{AD0C3BFC-7C82-4928-BDFE-B514B105C1E6}" dt="2024-02-15T09:49:30.735" v="217"/>
          <ac:spMkLst>
            <pc:docMk/>
            <pc:sldMk cId="2604812875" sldId="2007579888"/>
            <ac:spMk id="215" creationId="{3035B895-7E36-E78F-3F03-43E046E6F0A9}"/>
          </ac:spMkLst>
        </pc:spChg>
        <pc:grpChg chg="add del mod">
          <ac:chgData name="TOMIDA, Rei" userId="932807cb-e20e-4938-a276-88bbf4cb8e42" providerId="ADAL" clId="{AD0C3BFC-7C82-4928-BDFE-B514B105C1E6}" dt="2024-02-15T09:35:51.556" v="99" actId="478"/>
          <ac:grpSpMkLst>
            <pc:docMk/>
            <pc:sldMk cId="2604812875" sldId="2007579888"/>
            <ac:grpSpMk id="2" creationId="{C4037023-5C0D-31C1-3675-75AB91459385}"/>
          </ac:grpSpMkLst>
        </pc:grpChg>
        <pc:grpChg chg="mod">
          <ac:chgData name="TOMIDA, Rei" userId="932807cb-e20e-4938-a276-88bbf4cb8e42" providerId="ADAL" clId="{AD0C3BFC-7C82-4928-BDFE-B514B105C1E6}" dt="2024-02-15T09:35:30.803" v="98" actId="1038"/>
          <ac:grpSpMkLst>
            <pc:docMk/>
            <pc:sldMk cId="2604812875" sldId="2007579888"/>
            <ac:grpSpMk id="3" creationId="{0E10C849-6ED0-84CA-0FC6-6A1D8E5F3DD7}"/>
          </ac:grpSpMkLst>
        </pc:grpChg>
        <pc:grpChg chg="mod">
          <ac:chgData name="TOMIDA, Rei" userId="932807cb-e20e-4938-a276-88bbf4cb8e42" providerId="ADAL" clId="{AD0C3BFC-7C82-4928-BDFE-B514B105C1E6}" dt="2024-02-15T09:35:30.803" v="98" actId="1038"/>
          <ac:grpSpMkLst>
            <pc:docMk/>
            <pc:sldMk cId="2604812875" sldId="2007579888"/>
            <ac:grpSpMk id="4" creationId="{205E668F-560A-2F77-14E4-0BAA0943B9BD}"/>
          </ac:grpSpMkLst>
        </pc:grpChg>
        <pc:grpChg chg="mod">
          <ac:chgData name="TOMIDA, Rei" userId="932807cb-e20e-4938-a276-88bbf4cb8e42" providerId="ADAL" clId="{AD0C3BFC-7C82-4928-BDFE-B514B105C1E6}" dt="2024-02-15T09:35:30.803" v="98" actId="1038"/>
          <ac:grpSpMkLst>
            <pc:docMk/>
            <pc:sldMk cId="2604812875" sldId="2007579888"/>
            <ac:grpSpMk id="8" creationId="{BDA2E88F-1304-EBEE-F11D-5D1A0A8A37C8}"/>
          </ac:grpSpMkLst>
        </pc:grpChg>
        <pc:grpChg chg="mod">
          <ac:chgData name="TOMIDA, Rei" userId="932807cb-e20e-4938-a276-88bbf4cb8e42" providerId="ADAL" clId="{AD0C3BFC-7C82-4928-BDFE-B514B105C1E6}" dt="2024-02-15T09:35:30.803" v="98" actId="1038"/>
          <ac:grpSpMkLst>
            <pc:docMk/>
            <pc:sldMk cId="2604812875" sldId="2007579888"/>
            <ac:grpSpMk id="10" creationId="{C773C2BF-CAD2-3E66-1BF2-85B46DD6E35B}"/>
          </ac:grpSpMkLst>
        </pc:grpChg>
        <pc:grpChg chg="mod">
          <ac:chgData name="TOMIDA, Rei" userId="932807cb-e20e-4938-a276-88bbf4cb8e42" providerId="ADAL" clId="{AD0C3BFC-7C82-4928-BDFE-B514B105C1E6}" dt="2024-02-15T09:35:30.803" v="98" actId="1038"/>
          <ac:grpSpMkLst>
            <pc:docMk/>
            <pc:sldMk cId="2604812875" sldId="2007579888"/>
            <ac:grpSpMk id="12" creationId="{EF803A25-0D02-B9A9-6B85-CB9E6ADB8B39}"/>
          </ac:grpSpMkLst>
        </pc:grpChg>
        <pc:grpChg chg="mod">
          <ac:chgData name="TOMIDA, Rei" userId="932807cb-e20e-4938-a276-88bbf4cb8e42" providerId="ADAL" clId="{AD0C3BFC-7C82-4928-BDFE-B514B105C1E6}" dt="2024-02-15T09:35:30.803" v="98" actId="1038"/>
          <ac:grpSpMkLst>
            <pc:docMk/>
            <pc:sldMk cId="2604812875" sldId="2007579888"/>
            <ac:grpSpMk id="16" creationId="{6C8531A9-7403-E96A-BC77-7B0D92EE24E0}"/>
          </ac:grpSpMkLst>
        </pc:grpChg>
        <pc:grpChg chg="mod">
          <ac:chgData name="TOMIDA, Rei" userId="932807cb-e20e-4938-a276-88bbf4cb8e42" providerId="ADAL" clId="{AD0C3BFC-7C82-4928-BDFE-B514B105C1E6}" dt="2024-02-15T09:35:30.803" v="98" actId="1038"/>
          <ac:grpSpMkLst>
            <pc:docMk/>
            <pc:sldMk cId="2604812875" sldId="2007579888"/>
            <ac:grpSpMk id="18" creationId="{A99189C6-A5FC-7F61-5825-5C58244079FB}"/>
          </ac:grpSpMkLst>
        </pc:grpChg>
        <pc:grpChg chg="mod">
          <ac:chgData name="TOMIDA, Rei" userId="932807cb-e20e-4938-a276-88bbf4cb8e42" providerId="ADAL" clId="{AD0C3BFC-7C82-4928-BDFE-B514B105C1E6}" dt="2024-02-15T09:35:30.803" v="98" actId="1038"/>
          <ac:grpSpMkLst>
            <pc:docMk/>
            <pc:sldMk cId="2604812875" sldId="2007579888"/>
            <ac:grpSpMk id="22" creationId="{1A3FE797-C166-7DFE-8C03-D57A8758C582}"/>
          </ac:grpSpMkLst>
        </pc:grpChg>
        <pc:grpChg chg="mod">
          <ac:chgData name="TOMIDA, Rei" userId="932807cb-e20e-4938-a276-88bbf4cb8e42" providerId="ADAL" clId="{AD0C3BFC-7C82-4928-BDFE-B514B105C1E6}" dt="2024-02-15T09:35:30.803" v="98" actId="1038"/>
          <ac:grpSpMkLst>
            <pc:docMk/>
            <pc:sldMk cId="2604812875" sldId="2007579888"/>
            <ac:grpSpMk id="24" creationId="{B2FFB9A8-AA10-BF7D-BB1D-77D4F1CE235D}"/>
          </ac:grpSpMkLst>
        </pc:grpChg>
        <pc:grpChg chg="add del mod">
          <ac:chgData name="TOMIDA, Rei" userId="932807cb-e20e-4938-a276-88bbf4cb8e42" providerId="ADAL" clId="{AD0C3BFC-7C82-4928-BDFE-B514B105C1E6}" dt="2024-02-15T09:35:52.620" v="100" actId="478"/>
          <ac:grpSpMkLst>
            <pc:docMk/>
            <pc:sldMk cId="2604812875" sldId="2007579888"/>
            <ac:grpSpMk id="28" creationId="{20E2A718-EA6D-4DD8-FCC5-0099E7B8EE42}"/>
          </ac:grpSpMkLst>
        </pc:grpChg>
        <pc:grpChg chg="mod">
          <ac:chgData name="TOMIDA, Rei" userId="932807cb-e20e-4938-a276-88bbf4cb8e42" providerId="ADAL" clId="{AD0C3BFC-7C82-4928-BDFE-B514B105C1E6}" dt="2024-02-15T09:35:30.803" v="98" actId="1038"/>
          <ac:grpSpMkLst>
            <pc:docMk/>
            <pc:sldMk cId="2604812875" sldId="2007579888"/>
            <ac:grpSpMk id="29" creationId="{AB102516-8B4C-DD32-56F6-22C22DB20A6F}"/>
          </ac:grpSpMkLst>
        </pc:grpChg>
        <pc:grpChg chg="mod">
          <ac:chgData name="TOMIDA, Rei" userId="932807cb-e20e-4938-a276-88bbf4cb8e42" providerId="ADAL" clId="{AD0C3BFC-7C82-4928-BDFE-B514B105C1E6}" dt="2024-02-15T09:35:30.803" v="98" actId="1038"/>
          <ac:grpSpMkLst>
            <pc:docMk/>
            <pc:sldMk cId="2604812875" sldId="2007579888"/>
            <ac:grpSpMk id="30" creationId="{22412A63-0E14-2296-8800-A83F9916DF40}"/>
          </ac:grpSpMkLst>
        </pc:grpChg>
        <pc:grpChg chg="mod">
          <ac:chgData name="TOMIDA, Rei" userId="932807cb-e20e-4938-a276-88bbf4cb8e42" providerId="ADAL" clId="{AD0C3BFC-7C82-4928-BDFE-B514B105C1E6}" dt="2024-02-15T09:35:30.803" v="98" actId="1038"/>
          <ac:grpSpMkLst>
            <pc:docMk/>
            <pc:sldMk cId="2604812875" sldId="2007579888"/>
            <ac:grpSpMk id="31" creationId="{E407FF4C-3F94-910F-4969-7F7F9E25B290}"/>
          </ac:grpSpMkLst>
        </pc:grpChg>
        <pc:grpChg chg="mod">
          <ac:chgData name="TOMIDA, Rei" userId="932807cb-e20e-4938-a276-88bbf4cb8e42" providerId="ADAL" clId="{AD0C3BFC-7C82-4928-BDFE-B514B105C1E6}" dt="2024-02-15T09:35:30.803" v="98" actId="1038"/>
          <ac:grpSpMkLst>
            <pc:docMk/>
            <pc:sldMk cId="2604812875" sldId="2007579888"/>
            <ac:grpSpMk id="33" creationId="{FFA1C49A-08D9-9832-24CA-013CD1FCA943}"/>
          </ac:grpSpMkLst>
        </pc:grpChg>
        <pc:grpChg chg="mod">
          <ac:chgData name="TOMIDA, Rei" userId="932807cb-e20e-4938-a276-88bbf4cb8e42" providerId="ADAL" clId="{AD0C3BFC-7C82-4928-BDFE-B514B105C1E6}" dt="2024-02-15T09:35:30.803" v="98" actId="1038"/>
          <ac:grpSpMkLst>
            <pc:docMk/>
            <pc:sldMk cId="2604812875" sldId="2007579888"/>
            <ac:grpSpMk id="35" creationId="{A353E500-50C6-214F-62BD-9B439D724FBD}"/>
          </ac:grpSpMkLst>
        </pc:grpChg>
        <pc:grpChg chg="mod">
          <ac:chgData name="TOMIDA, Rei" userId="932807cb-e20e-4938-a276-88bbf4cb8e42" providerId="ADAL" clId="{AD0C3BFC-7C82-4928-BDFE-B514B105C1E6}" dt="2024-02-15T09:35:30.803" v="98" actId="1038"/>
          <ac:grpSpMkLst>
            <pc:docMk/>
            <pc:sldMk cId="2604812875" sldId="2007579888"/>
            <ac:grpSpMk id="39" creationId="{E4CF9675-A716-BC86-6682-7FF010154849}"/>
          </ac:grpSpMkLst>
        </pc:grpChg>
        <pc:grpChg chg="mod">
          <ac:chgData name="TOMIDA, Rei" userId="932807cb-e20e-4938-a276-88bbf4cb8e42" providerId="ADAL" clId="{AD0C3BFC-7C82-4928-BDFE-B514B105C1E6}" dt="2024-02-15T09:35:30.803" v="98" actId="1038"/>
          <ac:grpSpMkLst>
            <pc:docMk/>
            <pc:sldMk cId="2604812875" sldId="2007579888"/>
            <ac:grpSpMk id="41" creationId="{D42C3E6C-30B1-8747-30DA-A1C8FC467EDC}"/>
          </ac:grpSpMkLst>
        </pc:grpChg>
        <pc:grpChg chg="mod">
          <ac:chgData name="TOMIDA, Rei" userId="932807cb-e20e-4938-a276-88bbf4cb8e42" providerId="ADAL" clId="{AD0C3BFC-7C82-4928-BDFE-B514B105C1E6}" dt="2024-02-15T09:35:30.803" v="98" actId="1038"/>
          <ac:grpSpMkLst>
            <pc:docMk/>
            <pc:sldMk cId="2604812875" sldId="2007579888"/>
            <ac:grpSpMk id="45" creationId="{E36342AD-E0B2-52FB-EFA4-3D00DB9310CD}"/>
          </ac:grpSpMkLst>
        </pc:grpChg>
        <pc:grpChg chg="mod">
          <ac:chgData name="TOMIDA, Rei" userId="932807cb-e20e-4938-a276-88bbf4cb8e42" providerId="ADAL" clId="{AD0C3BFC-7C82-4928-BDFE-B514B105C1E6}" dt="2024-02-15T09:35:30.803" v="98" actId="1038"/>
          <ac:grpSpMkLst>
            <pc:docMk/>
            <pc:sldMk cId="2604812875" sldId="2007579888"/>
            <ac:grpSpMk id="47" creationId="{DEDB8F25-A43E-F802-18E8-7CBD688127BB}"/>
          </ac:grpSpMkLst>
        </pc:grpChg>
        <pc:grpChg chg="add del mod">
          <ac:chgData name="TOMIDA, Rei" userId="932807cb-e20e-4938-a276-88bbf4cb8e42" providerId="ADAL" clId="{AD0C3BFC-7C82-4928-BDFE-B514B105C1E6}" dt="2024-02-15T09:35:53.400" v="101" actId="478"/>
          <ac:grpSpMkLst>
            <pc:docMk/>
            <pc:sldMk cId="2604812875" sldId="2007579888"/>
            <ac:grpSpMk id="50" creationId="{4039B9AA-6A3D-AC10-DAE8-56034B101492}"/>
          </ac:grpSpMkLst>
        </pc:grpChg>
        <pc:grpChg chg="mod">
          <ac:chgData name="TOMIDA, Rei" userId="932807cb-e20e-4938-a276-88bbf4cb8e42" providerId="ADAL" clId="{AD0C3BFC-7C82-4928-BDFE-B514B105C1E6}" dt="2024-02-15T09:35:30.803" v="98" actId="1038"/>
          <ac:grpSpMkLst>
            <pc:docMk/>
            <pc:sldMk cId="2604812875" sldId="2007579888"/>
            <ac:grpSpMk id="51" creationId="{151931DE-6945-2D5E-E4E0-B68E9E2AF980}"/>
          </ac:grpSpMkLst>
        </pc:grpChg>
        <pc:grpChg chg="mod">
          <ac:chgData name="TOMIDA, Rei" userId="932807cb-e20e-4938-a276-88bbf4cb8e42" providerId="ADAL" clId="{AD0C3BFC-7C82-4928-BDFE-B514B105C1E6}" dt="2024-02-15T09:35:30.803" v="98" actId="1038"/>
          <ac:grpSpMkLst>
            <pc:docMk/>
            <pc:sldMk cId="2604812875" sldId="2007579888"/>
            <ac:grpSpMk id="52" creationId="{BE46CD5F-0582-BC63-40DD-FBD825FAB445}"/>
          </ac:grpSpMkLst>
        </pc:grpChg>
        <pc:grpChg chg="mod">
          <ac:chgData name="TOMIDA, Rei" userId="932807cb-e20e-4938-a276-88bbf4cb8e42" providerId="ADAL" clId="{AD0C3BFC-7C82-4928-BDFE-B514B105C1E6}" dt="2024-02-15T09:35:30.803" v="98" actId="1038"/>
          <ac:grpSpMkLst>
            <pc:docMk/>
            <pc:sldMk cId="2604812875" sldId="2007579888"/>
            <ac:grpSpMk id="53" creationId="{4B34C8FA-8104-50B9-4547-F5D8E4290EEF}"/>
          </ac:grpSpMkLst>
        </pc:grpChg>
        <pc:grpChg chg="mod">
          <ac:chgData name="TOMIDA, Rei" userId="932807cb-e20e-4938-a276-88bbf4cb8e42" providerId="ADAL" clId="{AD0C3BFC-7C82-4928-BDFE-B514B105C1E6}" dt="2024-02-15T09:35:30.803" v="98" actId="1038"/>
          <ac:grpSpMkLst>
            <pc:docMk/>
            <pc:sldMk cId="2604812875" sldId="2007579888"/>
            <ac:grpSpMk id="55" creationId="{31D667DC-754A-B7A9-E669-0F4C9A77E809}"/>
          </ac:grpSpMkLst>
        </pc:grpChg>
        <pc:grpChg chg="mod">
          <ac:chgData name="TOMIDA, Rei" userId="932807cb-e20e-4938-a276-88bbf4cb8e42" providerId="ADAL" clId="{AD0C3BFC-7C82-4928-BDFE-B514B105C1E6}" dt="2024-02-15T09:35:30.803" v="98" actId="1038"/>
          <ac:grpSpMkLst>
            <pc:docMk/>
            <pc:sldMk cId="2604812875" sldId="2007579888"/>
            <ac:grpSpMk id="57" creationId="{EB577C95-EB08-F135-9D33-A86F995ECE42}"/>
          </ac:grpSpMkLst>
        </pc:grpChg>
        <pc:grpChg chg="mod">
          <ac:chgData name="TOMIDA, Rei" userId="932807cb-e20e-4938-a276-88bbf4cb8e42" providerId="ADAL" clId="{AD0C3BFC-7C82-4928-BDFE-B514B105C1E6}" dt="2024-02-15T09:35:30.803" v="98" actId="1038"/>
          <ac:grpSpMkLst>
            <pc:docMk/>
            <pc:sldMk cId="2604812875" sldId="2007579888"/>
            <ac:grpSpMk id="61" creationId="{B01C9D3B-E78E-CE50-8011-6747D81C5BC4}"/>
          </ac:grpSpMkLst>
        </pc:grpChg>
        <pc:grpChg chg="mod">
          <ac:chgData name="TOMIDA, Rei" userId="932807cb-e20e-4938-a276-88bbf4cb8e42" providerId="ADAL" clId="{AD0C3BFC-7C82-4928-BDFE-B514B105C1E6}" dt="2024-02-15T09:35:30.803" v="98" actId="1038"/>
          <ac:grpSpMkLst>
            <pc:docMk/>
            <pc:sldMk cId="2604812875" sldId="2007579888"/>
            <ac:grpSpMk id="63" creationId="{90BCC5A3-4D4C-5A25-915D-97D6A3B307FB}"/>
          </ac:grpSpMkLst>
        </pc:grpChg>
        <pc:grpChg chg="mod">
          <ac:chgData name="TOMIDA, Rei" userId="932807cb-e20e-4938-a276-88bbf4cb8e42" providerId="ADAL" clId="{AD0C3BFC-7C82-4928-BDFE-B514B105C1E6}" dt="2024-02-15T09:35:30.803" v="98" actId="1038"/>
          <ac:grpSpMkLst>
            <pc:docMk/>
            <pc:sldMk cId="2604812875" sldId="2007579888"/>
            <ac:grpSpMk id="67" creationId="{CCD3C4E2-7310-CA2E-F8CA-4DAD1CFA76C9}"/>
          </ac:grpSpMkLst>
        </pc:grpChg>
        <pc:grpChg chg="mod">
          <ac:chgData name="TOMIDA, Rei" userId="932807cb-e20e-4938-a276-88bbf4cb8e42" providerId="ADAL" clId="{AD0C3BFC-7C82-4928-BDFE-B514B105C1E6}" dt="2024-02-15T09:35:30.803" v="98" actId="1038"/>
          <ac:grpSpMkLst>
            <pc:docMk/>
            <pc:sldMk cId="2604812875" sldId="2007579888"/>
            <ac:grpSpMk id="69" creationId="{A3858F21-9A00-E246-B4F3-DDCE432B6D5C}"/>
          </ac:grpSpMkLst>
        </pc:grpChg>
        <pc:grpChg chg="add mod">
          <ac:chgData name="TOMIDA, Rei" userId="932807cb-e20e-4938-a276-88bbf4cb8e42" providerId="ADAL" clId="{AD0C3BFC-7C82-4928-BDFE-B514B105C1E6}" dt="2024-02-15T09:44:07.518" v="189" actId="1036"/>
          <ac:grpSpMkLst>
            <pc:docMk/>
            <pc:sldMk cId="2604812875" sldId="2007579888"/>
            <ac:grpSpMk id="72" creationId="{47FF646D-07AD-AEF3-48DF-81F0CB24F623}"/>
          </ac:grpSpMkLst>
        </pc:grpChg>
        <pc:grpChg chg="mod">
          <ac:chgData name="TOMIDA, Rei" userId="932807cb-e20e-4938-a276-88bbf4cb8e42" providerId="ADAL" clId="{AD0C3BFC-7C82-4928-BDFE-B514B105C1E6}" dt="2024-02-15T09:44:07.518" v="189" actId="1036"/>
          <ac:grpSpMkLst>
            <pc:docMk/>
            <pc:sldMk cId="2604812875" sldId="2007579888"/>
            <ac:grpSpMk id="73" creationId="{5EFF7AC9-F11B-3EE8-C1D2-CA8AA24E5681}"/>
          </ac:grpSpMkLst>
        </pc:grpChg>
        <pc:grpChg chg="mod">
          <ac:chgData name="TOMIDA, Rei" userId="932807cb-e20e-4938-a276-88bbf4cb8e42" providerId="ADAL" clId="{AD0C3BFC-7C82-4928-BDFE-B514B105C1E6}" dt="2024-02-15T09:44:07.518" v="189" actId="1036"/>
          <ac:grpSpMkLst>
            <pc:docMk/>
            <pc:sldMk cId="2604812875" sldId="2007579888"/>
            <ac:grpSpMk id="74" creationId="{53E4EEA2-E27F-1C05-C611-008B3797550D}"/>
          </ac:grpSpMkLst>
        </pc:grpChg>
        <pc:grpChg chg="mod">
          <ac:chgData name="TOMIDA, Rei" userId="932807cb-e20e-4938-a276-88bbf4cb8e42" providerId="ADAL" clId="{AD0C3BFC-7C82-4928-BDFE-B514B105C1E6}" dt="2024-02-15T09:44:07.518" v="189" actId="1036"/>
          <ac:grpSpMkLst>
            <pc:docMk/>
            <pc:sldMk cId="2604812875" sldId="2007579888"/>
            <ac:grpSpMk id="75" creationId="{DAD44BEF-388C-A4A1-C133-AA840E66B884}"/>
          </ac:grpSpMkLst>
        </pc:grpChg>
        <pc:grpChg chg="mod">
          <ac:chgData name="TOMIDA, Rei" userId="932807cb-e20e-4938-a276-88bbf4cb8e42" providerId="ADAL" clId="{AD0C3BFC-7C82-4928-BDFE-B514B105C1E6}" dt="2024-02-15T09:44:07.518" v="189" actId="1036"/>
          <ac:grpSpMkLst>
            <pc:docMk/>
            <pc:sldMk cId="2604812875" sldId="2007579888"/>
            <ac:grpSpMk id="77" creationId="{E9E3E96F-97C4-EEE5-090E-5CA676932903}"/>
          </ac:grpSpMkLst>
        </pc:grpChg>
        <pc:grpChg chg="mod">
          <ac:chgData name="TOMIDA, Rei" userId="932807cb-e20e-4938-a276-88bbf4cb8e42" providerId="ADAL" clId="{AD0C3BFC-7C82-4928-BDFE-B514B105C1E6}" dt="2024-02-15T09:44:07.518" v="189" actId="1036"/>
          <ac:grpSpMkLst>
            <pc:docMk/>
            <pc:sldMk cId="2604812875" sldId="2007579888"/>
            <ac:grpSpMk id="79" creationId="{20AFF8D6-2217-11B3-FDE1-19842F04707B}"/>
          </ac:grpSpMkLst>
        </pc:grpChg>
        <pc:grpChg chg="mod">
          <ac:chgData name="TOMIDA, Rei" userId="932807cb-e20e-4938-a276-88bbf4cb8e42" providerId="ADAL" clId="{AD0C3BFC-7C82-4928-BDFE-B514B105C1E6}" dt="2024-02-15T09:44:07.518" v="189" actId="1036"/>
          <ac:grpSpMkLst>
            <pc:docMk/>
            <pc:sldMk cId="2604812875" sldId="2007579888"/>
            <ac:grpSpMk id="83" creationId="{21BD7509-145F-0FC4-A053-AB78D6458F69}"/>
          </ac:grpSpMkLst>
        </pc:grpChg>
        <pc:grpChg chg="mod">
          <ac:chgData name="TOMIDA, Rei" userId="932807cb-e20e-4938-a276-88bbf4cb8e42" providerId="ADAL" clId="{AD0C3BFC-7C82-4928-BDFE-B514B105C1E6}" dt="2024-02-15T09:44:07.518" v="189" actId="1036"/>
          <ac:grpSpMkLst>
            <pc:docMk/>
            <pc:sldMk cId="2604812875" sldId="2007579888"/>
            <ac:grpSpMk id="85" creationId="{61B6D275-48A2-77F0-9C5E-5247F0D60AF2}"/>
          </ac:grpSpMkLst>
        </pc:grpChg>
        <pc:grpChg chg="mod">
          <ac:chgData name="TOMIDA, Rei" userId="932807cb-e20e-4938-a276-88bbf4cb8e42" providerId="ADAL" clId="{AD0C3BFC-7C82-4928-BDFE-B514B105C1E6}" dt="2024-02-15T09:44:07.518" v="189" actId="1036"/>
          <ac:grpSpMkLst>
            <pc:docMk/>
            <pc:sldMk cId="2604812875" sldId="2007579888"/>
            <ac:grpSpMk id="89" creationId="{ACD8D08D-4E6F-30A2-66BA-FA3CD6C687ED}"/>
          </ac:grpSpMkLst>
        </pc:grpChg>
        <pc:grpChg chg="mod">
          <ac:chgData name="TOMIDA, Rei" userId="932807cb-e20e-4938-a276-88bbf4cb8e42" providerId="ADAL" clId="{AD0C3BFC-7C82-4928-BDFE-B514B105C1E6}" dt="2024-02-15T09:44:07.518" v="189" actId="1036"/>
          <ac:grpSpMkLst>
            <pc:docMk/>
            <pc:sldMk cId="2604812875" sldId="2007579888"/>
            <ac:grpSpMk id="91" creationId="{81D7F43F-F3BA-C85C-8C31-3271F12A1426}"/>
          </ac:grpSpMkLst>
        </pc:grpChg>
        <pc:grpChg chg="add mod">
          <ac:chgData name="TOMIDA, Rei" userId="932807cb-e20e-4938-a276-88bbf4cb8e42" providerId="ADAL" clId="{AD0C3BFC-7C82-4928-BDFE-B514B105C1E6}" dt="2024-02-15T09:43:59.973" v="176" actId="1036"/>
          <ac:grpSpMkLst>
            <pc:docMk/>
            <pc:sldMk cId="2604812875" sldId="2007579888"/>
            <ac:grpSpMk id="94" creationId="{CAB2AE34-FD22-BE92-62B2-7558BEA9DAC2}"/>
          </ac:grpSpMkLst>
        </pc:grpChg>
        <pc:grpChg chg="mod">
          <ac:chgData name="TOMIDA, Rei" userId="932807cb-e20e-4938-a276-88bbf4cb8e42" providerId="ADAL" clId="{AD0C3BFC-7C82-4928-BDFE-B514B105C1E6}" dt="2024-02-15T09:43:59.973" v="176" actId="1036"/>
          <ac:grpSpMkLst>
            <pc:docMk/>
            <pc:sldMk cId="2604812875" sldId="2007579888"/>
            <ac:grpSpMk id="95" creationId="{C353F269-17E6-3E2D-E1EA-699EAB44998A}"/>
          </ac:grpSpMkLst>
        </pc:grpChg>
        <pc:grpChg chg="mod">
          <ac:chgData name="TOMIDA, Rei" userId="932807cb-e20e-4938-a276-88bbf4cb8e42" providerId="ADAL" clId="{AD0C3BFC-7C82-4928-BDFE-B514B105C1E6}" dt="2024-02-15T09:43:59.973" v="176" actId="1036"/>
          <ac:grpSpMkLst>
            <pc:docMk/>
            <pc:sldMk cId="2604812875" sldId="2007579888"/>
            <ac:grpSpMk id="96" creationId="{30717D7B-F7D1-DA94-8D25-7FFA6C89ADEE}"/>
          </ac:grpSpMkLst>
        </pc:grpChg>
        <pc:grpChg chg="mod">
          <ac:chgData name="TOMIDA, Rei" userId="932807cb-e20e-4938-a276-88bbf4cb8e42" providerId="ADAL" clId="{AD0C3BFC-7C82-4928-BDFE-B514B105C1E6}" dt="2024-02-15T09:43:59.973" v="176" actId="1036"/>
          <ac:grpSpMkLst>
            <pc:docMk/>
            <pc:sldMk cId="2604812875" sldId="2007579888"/>
            <ac:grpSpMk id="97" creationId="{F8F093B6-94C9-D16D-54F0-021ECA5B75BE}"/>
          </ac:grpSpMkLst>
        </pc:grpChg>
        <pc:grpChg chg="mod">
          <ac:chgData name="TOMIDA, Rei" userId="932807cb-e20e-4938-a276-88bbf4cb8e42" providerId="ADAL" clId="{AD0C3BFC-7C82-4928-BDFE-B514B105C1E6}" dt="2024-02-15T09:43:59.973" v="176" actId="1036"/>
          <ac:grpSpMkLst>
            <pc:docMk/>
            <pc:sldMk cId="2604812875" sldId="2007579888"/>
            <ac:grpSpMk id="99" creationId="{057AAF33-3DEA-25CB-7C99-B77741858578}"/>
          </ac:grpSpMkLst>
        </pc:grpChg>
        <pc:grpChg chg="mod">
          <ac:chgData name="TOMIDA, Rei" userId="932807cb-e20e-4938-a276-88bbf4cb8e42" providerId="ADAL" clId="{AD0C3BFC-7C82-4928-BDFE-B514B105C1E6}" dt="2024-02-15T09:43:59.973" v="176" actId="1036"/>
          <ac:grpSpMkLst>
            <pc:docMk/>
            <pc:sldMk cId="2604812875" sldId="2007579888"/>
            <ac:grpSpMk id="101" creationId="{97B99538-0148-5948-1201-7674EE7882F1}"/>
          </ac:grpSpMkLst>
        </pc:grpChg>
        <pc:grpChg chg="mod">
          <ac:chgData name="TOMIDA, Rei" userId="932807cb-e20e-4938-a276-88bbf4cb8e42" providerId="ADAL" clId="{AD0C3BFC-7C82-4928-BDFE-B514B105C1E6}" dt="2024-02-15T09:43:59.973" v="176" actId="1036"/>
          <ac:grpSpMkLst>
            <pc:docMk/>
            <pc:sldMk cId="2604812875" sldId="2007579888"/>
            <ac:grpSpMk id="105" creationId="{18E58CE0-DC56-A7A7-BEB7-41D7A21629DF}"/>
          </ac:grpSpMkLst>
        </pc:grpChg>
        <pc:grpChg chg="mod">
          <ac:chgData name="TOMIDA, Rei" userId="932807cb-e20e-4938-a276-88bbf4cb8e42" providerId="ADAL" clId="{AD0C3BFC-7C82-4928-BDFE-B514B105C1E6}" dt="2024-02-15T09:43:59.973" v="176" actId="1036"/>
          <ac:grpSpMkLst>
            <pc:docMk/>
            <pc:sldMk cId="2604812875" sldId="2007579888"/>
            <ac:grpSpMk id="107" creationId="{51B0D094-DAA3-70DE-2E08-1F5FFA4F0642}"/>
          </ac:grpSpMkLst>
        </pc:grpChg>
        <pc:grpChg chg="mod">
          <ac:chgData name="TOMIDA, Rei" userId="932807cb-e20e-4938-a276-88bbf4cb8e42" providerId="ADAL" clId="{AD0C3BFC-7C82-4928-BDFE-B514B105C1E6}" dt="2024-02-15T09:43:59.973" v="176" actId="1036"/>
          <ac:grpSpMkLst>
            <pc:docMk/>
            <pc:sldMk cId="2604812875" sldId="2007579888"/>
            <ac:grpSpMk id="111" creationId="{07488E63-7AFA-66FE-12E6-4F64C37056EB}"/>
          </ac:grpSpMkLst>
        </pc:grpChg>
        <pc:grpChg chg="mod">
          <ac:chgData name="TOMIDA, Rei" userId="932807cb-e20e-4938-a276-88bbf4cb8e42" providerId="ADAL" clId="{AD0C3BFC-7C82-4928-BDFE-B514B105C1E6}" dt="2024-02-15T09:43:59.973" v="176" actId="1036"/>
          <ac:grpSpMkLst>
            <pc:docMk/>
            <pc:sldMk cId="2604812875" sldId="2007579888"/>
            <ac:grpSpMk id="113" creationId="{4131564D-D30D-95B4-CF6A-DEB0240A5312}"/>
          </ac:grpSpMkLst>
        </pc:grpChg>
        <pc:grpChg chg="add mod">
          <ac:chgData name="TOMIDA, Rei" userId="932807cb-e20e-4938-a276-88bbf4cb8e42" providerId="ADAL" clId="{AD0C3BFC-7C82-4928-BDFE-B514B105C1E6}" dt="2024-02-15T09:43:44.563" v="166" actId="14100"/>
          <ac:grpSpMkLst>
            <pc:docMk/>
            <pc:sldMk cId="2604812875" sldId="2007579888"/>
            <ac:grpSpMk id="116" creationId="{B2C0AE4C-415F-B52D-E6EC-5C495C9B6F4A}"/>
          </ac:grpSpMkLst>
        </pc:grpChg>
        <pc:grpChg chg="mod">
          <ac:chgData name="TOMIDA, Rei" userId="932807cb-e20e-4938-a276-88bbf4cb8e42" providerId="ADAL" clId="{AD0C3BFC-7C82-4928-BDFE-B514B105C1E6}" dt="2024-02-15T09:43:44.563" v="166" actId="14100"/>
          <ac:grpSpMkLst>
            <pc:docMk/>
            <pc:sldMk cId="2604812875" sldId="2007579888"/>
            <ac:grpSpMk id="117" creationId="{0782D445-0AF3-6432-864C-27185102C7CC}"/>
          </ac:grpSpMkLst>
        </pc:grpChg>
        <pc:grpChg chg="mod">
          <ac:chgData name="TOMIDA, Rei" userId="932807cb-e20e-4938-a276-88bbf4cb8e42" providerId="ADAL" clId="{AD0C3BFC-7C82-4928-BDFE-B514B105C1E6}" dt="2024-02-15T09:43:44.563" v="166" actId="14100"/>
          <ac:grpSpMkLst>
            <pc:docMk/>
            <pc:sldMk cId="2604812875" sldId="2007579888"/>
            <ac:grpSpMk id="118" creationId="{65333EE4-205E-8642-83A7-1E4244231D38}"/>
          </ac:grpSpMkLst>
        </pc:grpChg>
        <pc:grpChg chg="mod">
          <ac:chgData name="TOMIDA, Rei" userId="932807cb-e20e-4938-a276-88bbf4cb8e42" providerId="ADAL" clId="{AD0C3BFC-7C82-4928-BDFE-B514B105C1E6}" dt="2024-02-15T09:43:44.563" v="166" actId="14100"/>
          <ac:grpSpMkLst>
            <pc:docMk/>
            <pc:sldMk cId="2604812875" sldId="2007579888"/>
            <ac:grpSpMk id="119" creationId="{6CC85CEC-CC52-3533-F7E8-E3869120B0D8}"/>
          </ac:grpSpMkLst>
        </pc:grpChg>
        <pc:grpChg chg="mod">
          <ac:chgData name="TOMIDA, Rei" userId="932807cb-e20e-4938-a276-88bbf4cb8e42" providerId="ADAL" clId="{AD0C3BFC-7C82-4928-BDFE-B514B105C1E6}" dt="2024-02-15T09:43:44.563" v="166" actId="14100"/>
          <ac:grpSpMkLst>
            <pc:docMk/>
            <pc:sldMk cId="2604812875" sldId="2007579888"/>
            <ac:grpSpMk id="121" creationId="{96A37368-8DC5-8F90-9880-05BCC3611FC3}"/>
          </ac:grpSpMkLst>
        </pc:grpChg>
        <pc:grpChg chg="mod">
          <ac:chgData name="TOMIDA, Rei" userId="932807cb-e20e-4938-a276-88bbf4cb8e42" providerId="ADAL" clId="{AD0C3BFC-7C82-4928-BDFE-B514B105C1E6}" dt="2024-02-15T09:43:44.563" v="166" actId="14100"/>
          <ac:grpSpMkLst>
            <pc:docMk/>
            <pc:sldMk cId="2604812875" sldId="2007579888"/>
            <ac:grpSpMk id="123" creationId="{29202823-B43D-9AAA-9E8F-31BF3815C9A4}"/>
          </ac:grpSpMkLst>
        </pc:grpChg>
        <pc:grpChg chg="mod">
          <ac:chgData name="TOMIDA, Rei" userId="932807cb-e20e-4938-a276-88bbf4cb8e42" providerId="ADAL" clId="{AD0C3BFC-7C82-4928-BDFE-B514B105C1E6}" dt="2024-02-15T09:43:44.563" v="166" actId="14100"/>
          <ac:grpSpMkLst>
            <pc:docMk/>
            <pc:sldMk cId="2604812875" sldId="2007579888"/>
            <ac:grpSpMk id="127" creationId="{C1C2B846-E418-B98D-8D62-750413F5A095}"/>
          </ac:grpSpMkLst>
        </pc:grpChg>
        <pc:grpChg chg="mod">
          <ac:chgData name="TOMIDA, Rei" userId="932807cb-e20e-4938-a276-88bbf4cb8e42" providerId="ADAL" clId="{AD0C3BFC-7C82-4928-BDFE-B514B105C1E6}" dt="2024-02-15T09:43:44.563" v="166" actId="14100"/>
          <ac:grpSpMkLst>
            <pc:docMk/>
            <pc:sldMk cId="2604812875" sldId="2007579888"/>
            <ac:grpSpMk id="129" creationId="{0B132379-F736-CC28-169D-6AA6CA6FF808}"/>
          </ac:grpSpMkLst>
        </pc:grpChg>
        <pc:grpChg chg="mod">
          <ac:chgData name="TOMIDA, Rei" userId="932807cb-e20e-4938-a276-88bbf4cb8e42" providerId="ADAL" clId="{AD0C3BFC-7C82-4928-BDFE-B514B105C1E6}" dt="2024-02-15T09:43:44.563" v="166" actId="14100"/>
          <ac:grpSpMkLst>
            <pc:docMk/>
            <pc:sldMk cId="2604812875" sldId="2007579888"/>
            <ac:grpSpMk id="133" creationId="{90EC12B4-41A1-FCAA-A9EE-95510C73AFEA}"/>
          </ac:grpSpMkLst>
        </pc:grpChg>
        <pc:grpChg chg="mod">
          <ac:chgData name="TOMIDA, Rei" userId="932807cb-e20e-4938-a276-88bbf4cb8e42" providerId="ADAL" clId="{AD0C3BFC-7C82-4928-BDFE-B514B105C1E6}" dt="2024-02-15T09:43:44.563" v="166" actId="14100"/>
          <ac:grpSpMkLst>
            <pc:docMk/>
            <pc:sldMk cId="2604812875" sldId="2007579888"/>
            <ac:grpSpMk id="135" creationId="{C6CBB555-92A5-8751-ED68-8982331C51DC}"/>
          </ac:grpSpMkLst>
        </pc:grpChg>
        <pc:grpChg chg="add del mod">
          <ac:chgData name="TOMIDA, Rei" userId="932807cb-e20e-4938-a276-88bbf4cb8e42" providerId="ADAL" clId="{AD0C3BFC-7C82-4928-BDFE-B514B105C1E6}" dt="2024-02-15T09:40:32.891" v="104" actId="478"/>
          <ac:grpSpMkLst>
            <pc:docMk/>
            <pc:sldMk cId="2604812875" sldId="2007579888"/>
            <ac:grpSpMk id="138" creationId="{B28713BE-340C-E119-CF27-CED6448D09A3}"/>
          </ac:grpSpMkLst>
        </pc:grpChg>
        <pc:grpChg chg="mod">
          <ac:chgData name="TOMIDA, Rei" userId="932807cb-e20e-4938-a276-88bbf4cb8e42" providerId="ADAL" clId="{AD0C3BFC-7C82-4928-BDFE-B514B105C1E6}" dt="2024-02-15T09:40:31.147" v="103"/>
          <ac:grpSpMkLst>
            <pc:docMk/>
            <pc:sldMk cId="2604812875" sldId="2007579888"/>
            <ac:grpSpMk id="139" creationId="{7992795D-95D1-7AA6-6206-D3F353C335B3}"/>
          </ac:grpSpMkLst>
        </pc:grpChg>
        <pc:grpChg chg="mod">
          <ac:chgData name="TOMIDA, Rei" userId="932807cb-e20e-4938-a276-88bbf4cb8e42" providerId="ADAL" clId="{AD0C3BFC-7C82-4928-BDFE-B514B105C1E6}" dt="2024-02-15T09:40:31.147" v="103"/>
          <ac:grpSpMkLst>
            <pc:docMk/>
            <pc:sldMk cId="2604812875" sldId="2007579888"/>
            <ac:grpSpMk id="140" creationId="{2B21648F-9EC3-CBBE-E066-8C75711758D7}"/>
          </ac:grpSpMkLst>
        </pc:grpChg>
        <pc:grpChg chg="mod">
          <ac:chgData name="TOMIDA, Rei" userId="932807cb-e20e-4938-a276-88bbf4cb8e42" providerId="ADAL" clId="{AD0C3BFC-7C82-4928-BDFE-B514B105C1E6}" dt="2024-02-15T09:40:31.147" v="103"/>
          <ac:grpSpMkLst>
            <pc:docMk/>
            <pc:sldMk cId="2604812875" sldId="2007579888"/>
            <ac:grpSpMk id="141" creationId="{393E4EC7-967C-D763-B9F8-91EBE6A9B481}"/>
          </ac:grpSpMkLst>
        </pc:grpChg>
        <pc:grpChg chg="mod">
          <ac:chgData name="TOMIDA, Rei" userId="932807cb-e20e-4938-a276-88bbf4cb8e42" providerId="ADAL" clId="{AD0C3BFC-7C82-4928-BDFE-B514B105C1E6}" dt="2024-02-15T09:40:31.147" v="103"/>
          <ac:grpSpMkLst>
            <pc:docMk/>
            <pc:sldMk cId="2604812875" sldId="2007579888"/>
            <ac:grpSpMk id="143" creationId="{FF06ABCB-A4CC-AEA4-BFD6-266A6894EE75}"/>
          </ac:grpSpMkLst>
        </pc:grpChg>
        <pc:grpChg chg="mod">
          <ac:chgData name="TOMIDA, Rei" userId="932807cb-e20e-4938-a276-88bbf4cb8e42" providerId="ADAL" clId="{AD0C3BFC-7C82-4928-BDFE-B514B105C1E6}" dt="2024-02-15T09:40:31.147" v="103"/>
          <ac:grpSpMkLst>
            <pc:docMk/>
            <pc:sldMk cId="2604812875" sldId="2007579888"/>
            <ac:grpSpMk id="145" creationId="{86E574C5-2AD3-E330-86A3-F77F939411CE}"/>
          </ac:grpSpMkLst>
        </pc:grpChg>
        <pc:grpChg chg="mod">
          <ac:chgData name="TOMIDA, Rei" userId="932807cb-e20e-4938-a276-88bbf4cb8e42" providerId="ADAL" clId="{AD0C3BFC-7C82-4928-BDFE-B514B105C1E6}" dt="2024-02-15T09:40:31.147" v="103"/>
          <ac:grpSpMkLst>
            <pc:docMk/>
            <pc:sldMk cId="2604812875" sldId="2007579888"/>
            <ac:grpSpMk id="149" creationId="{C48CFA57-A10B-A465-807B-D6E18D09C889}"/>
          </ac:grpSpMkLst>
        </pc:grpChg>
        <pc:grpChg chg="mod">
          <ac:chgData name="TOMIDA, Rei" userId="932807cb-e20e-4938-a276-88bbf4cb8e42" providerId="ADAL" clId="{AD0C3BFC-7C82-4928-BDFE-B514B105C1E6}" dt="2024-02-15T09:40:31.147" v="103"/>
          <ac:grpSpMkLst>
            <pc:docMk/>
            <pc:sldMk cId="2604812875" sldId="2007579888"/>
            <ac:grpSpMk id="151" creationId="{6809BB14-1B9C-B6A1-C39B-6BD2D28406DC}"/>
          </ac:grpSpMkLst>
        </pc:grpChg>
        <pc:grpChg chg="mod">
          <ac:chgData name="TOMIDA, Rei" userId="932807cb-e20e-4938-a276-88bbf4cb8e42" providerId="ADAL" clId="{AD0C3BFC-7C82-4928-BDFE-B514B105C1E6}" dt="2024-02-15T09:40:31.147" v="103"/>
          <ac:grpSpMkLst>
            <pc:docMk/>
            <pc:sldMk cId="2604812875" sldId="2007579888"/>
            <ac:grpSpMk id="155" creationId="{5B0B35C1-DA80-D788-3064-94841C05479C}"/>
          </ac:grpSpMkLst>
        </pc:grpChg>
        <pc:grpChg chg="mod">
          <ac:chgData name="TOMIDA, Rei" userId="932807cb-e20e-4938-a276-88bbf4cb8e42" providerId="ADAL" clId="{AD0C3BFC-7C82-4928-BDFE-B514B105C1E6}" dt="2024-02-15T09:40:31.147" v="103"/>
          <ac:grpSpMkLst>
            <pc:docMk/>
            <pc:sldMk cId="2604812875" sldId="2007579888"/>
            <ac:grpSpMk id="157" creationId="{9807E055-3B7B-6081-D63C-A9990F01FCFF}"/>
          </ac:grpSpMkLst>
        </pc:grpChg>
        <pc:grpChg chg="add del mod">
          <ac:chgData name="TOMIDA, Rei" userId="932807cb-e20e-4938-a276-88bbf4cb8e42" providerId="ADAL" clId="{AD0C3BFC-7C82-4928-BDFE-B514B105C1E6}" dt="2024-02-15T09:40:32.891" v="104" actId="478"/>
          <ac:grpSpMkLst>
            <pc:docMk/>
            <pc:sldMk cId="2604812875" sldId="2007579888"/>
            <ac:grpSpMk id="160" creationId="{269E9231-3A28-2BA4-8C43-230C454F0F9C}"/>
          </ac:grpSpMkLst>
        </pc:grpChg>
        <pc:grpChg chg="mod">
          <ac:chgData name="TOMIDA, Rei" userId="932807cb-e20e-4938-a276-88bbf4cb8e42" providerId="ADAL" clId="{AD0C3BFC-7C82-4928-BDFE-B514B105C1E6}" dt="2024-02-15T09:40:31.147" v="103"/>
          <ac:grpSpMkLst>
            <pc:docMk/>
            <pc:sldMk cId="2604812875" sldId="2007579888"/>
            <ac:grpSpMk id="161" creationId="{699BC413-567A-1941-2743-4A2A73C319E2}"/>
          </ac:grpSpMkLst>
        </pc:grpChg>
        <pc:grpChg chg="mod">
          <ac:chgData name="TOMIDA, Rei" userId="932807cb-e20e-4938-a276-88bbf4cb8e42" providerId="ADAL" clId="{AD0C3BFC-7C82-4928-BDFE-B514B105C1E6}" dt="2024-02-15T09:40:31.147" v="103"/>
          <ac:grpSpMkLst>
            <pc:docMk/>
            <pc:sldMk cId="2604812875" sldId="2007579888"/>
            <ac:grpSpMk id="162" creationId="{047C9F40-8C75-D166-C603-0F1E83CFB41C}"/>
          </ac:grpSpMkLst>
        </pc:grpChg>
        <pc:grpChg chg="mod">
          <ac:chgData name="TOMIDA, Rei" userId="932807cb-e20e-4938-a276-88bbf4cb8e42" providerId="ADAL" clId="{AD0C3BFC-7C82-4928-BDFE-B514B105C1E6}" dt="2024-02-15T09:40:31.147" v="103"/>
          <ac:grpSpMkLst>
            <pc:docMk/>
            <pc:sldMk cId="2604812875" sldId="2007579888"/>
            <ac:grpSpMk id="163" creationId="{C428DFCB-1320-7660-712E-D2481ABC764A}"/>
          </ac:grpSpMkLst>
        </pc:grpChg>
        <pc:grpChg chg="mod">
          <ac:chgData name="TOMIDA, Rei" userId="932807cb-e20e-4938-a276-88bbf4cb8e42" providerId="ADAL" clId="{AD0C3BFC-7C82-4928-BDFE-B514B105C1E6}" dt="2024-02-15T09:40:31.147" v="103"/>
          <ac:grpSpMkLst>
            <pc:docMk/>
            <pc:sldMk cId="2604812875" sldId="2007579888"/>
            <ac:grpSpMk id="165" creationId="{B678C8BF-6831-D7FB-8CED-21988BF45672}"/>
          </ac:grpSpMkLst>
        </pc:grpChg>
        <pc:grpChg chg="mod">
          <ac:chgData name="TOMIDA, Rei" userId="932807cb-e20e-4938-a276-88bbf4cb8e42" providerId="ADAL" clId="{AD0C3BFC-7C82-4928-BDFE-B514B105C1E6}" dt="2024-02-15T09:40:31.147" v="103"/>
          <ac:grpSpMkLst>
            <pc:docMk/>
            <pc:sldMk cId="2604812875" sldId="2007579888"/>
            <ac:grpSpMk id="167" creationId="{6883F8C4-0BAE-A7BC-3617-E34491553BFC}"/>
          </ac:grpSpMkLst>
        </pc:grpChg>
        <pc:grpChg chg="mod">
          <ac:chgData name="TOMIDA, Rei" userId="932807cb-e20e-4938-a276-88bbf4cb8e42" providerId="ADAL" clId="{AD0C3BFC-7C82-4928-BDFE-B514B105C1E6}" dt="2024-02-15T09:40:31.147" v="103"/>
          <ac:grpSpMkLst>
            <pc:docMk/>
            <pc:sldMk cId="2604812875" sldId="2007579888"/>
            <ac:grpSpMk id="171" creationId="{CECF2493-DB29-1327-BDB7-F020DA460B6B}"/>
          </ac:grpSpMkLst>
        </pc:grpChg>
        <pc:grpChg chg="mod">
          <ac:chgData name="TOMIDA, Rei" userId="932807cb-e20e-4938-a276-88bbf4cb8e42" providerId="ADAL" clId="{AD0C3BFC-7C82-4928-BDFE-B514B105C1E6}" dt="2024-02-15T09:40:31.147" v="103"/>
          <ac:grpSpMkLst>
            <pc:docMk/>
            <pc:sldMk cId="2604812875" sldId="2007579888"/>
            <ac:grpSpMk id="173" creationId="{474667C4-E556-5769-5D61-A8FD70FABDA8}"/>
          </ac:grpSpMkLst>
        </pc:grpChg>
        <pc:grpChg chg="mod">
          <ac:chgData name="TOMIDA, Rei" userId="932807cb-e20e-4938-a276-88bbf4cb8e42" providerId="ADAL" clId="{AD0C3BFC-7C82-4928-BDFE-B514B105C1E6}" dt="2024-02-15T09:40:31.147" v="103"/>
          <ac:grpSpMkLst>
            <pc:docMk/>
            <pc:sldMk cId="2604812875" sldId="2007579888"/>
            <ac:grpSpMk id="177" creationId="{224F4C74-F2C2-CFA2-128B-5AB1F1341E0F}"/>
          </ac:grpSpMkLst>
        </pc:grpChg>
        <pc:grpChg chg="mod">
          <ac:chgData name="TOMIDA, Rei" userId="932807cb-e20e-4938-a276-88bbf4cb8e42" providerId="ADAL" clId="{AD0C3BFC-7C82-4928-BDFE-B514B105C1E6}" dt="2024-02-15T09:40:31.147" v="103"/>
          <ac:grpSpMkLst>
            <pc:docMk/>
            <pc:sldMk cId="2604812875" sldId="2007579888"/>
            <ac:grpSpMk id="179" creationId="{85DB96A2-B83D-67C8-B758-E65B17F3FF5C}"/>
          </ac:grpSpMkLst>
        </pc:grpChg>
        <pc:grpChg chg="add del mod">
          <ac:chgData name="TOMIDA, Rei" userId="932807cb-e20e-4938-a276-88bbf4cb8e42" providerId="ADAL" clId="{AD0C3BFC-7C82-4928-BDFE-B514B105C1E6}" dt="2024-02-15T09:40:32.891" v="104" actId="478"/>
          <ac:grpSpMkLst>
            <pc:docMk/>
            <pc:sldMk cId="2604812875" sldId="2007579888"/>
            <ac:grpSpMk id="182" creationId="{4D5A03C3-7B9A-9C94-B78F-DFADFC2B3F52}"/>
          </ac:grpSpMkLst>
        </pc:grpChg>
        <pc:grpChg chg="mod">
          <ac:chgData name="TOMIDA, Rei" userId="932807cb-e20e-4938-a276-88bbf4cb8e42" providerId="ADAL" clId="{AD0C3BFC-7C82-4928-BDFE-B514B105C1E6}" dt="2024-02-15T09:40:31.147" v="103"/>
          <ac:grpSpMkLst>
            <pc:docMk/>
            <pc:sldMk cId="2604812875" sldId="2007579888"/>
            <ac:grpSpMk id="183" creationId="{D7C37044-D0B5-8DB1-1C05-8C5C6C365E40}"/>
          </ac:grpSpMkLst>
        </pc:grpChg>
        <pc:grpChg chg="mod">
          <ac:chgData name="TOMIDA, Rei" userId="932807cb-e20e-4938-a276-88bbf4cb8e42" providerId="ADAL" clId="{AD0C3BFC-7C82-4928-BDFE-B514B105C1E6}" dt="2024-02-15T09:40:31.147" v="103"/>
          <ac:grpSpMkLst>
            <pc:docMk/>
            <pc:sldMk cId="2604812875" sldId="2007579888"/>
            <ac:grpSpMk id="184" creationId="{E6A1FE36-2929-8CD2-467E-B245A5A66514}"/>
          </ac:grpSpMkLst>
        </pc:grpChg>
        <pc:grpChg chg="mod">
          <ac:chgData name="TOMIDA, Rei" userId="932807cb-e20e-4938-a276-88bbf4cb8e42" providerId="ADAL" clId="{AD0C3BFC-7C82-4928-BDFE-B514B105C1E6}" dt="2024-02-15T09:40:31.147" v="103"/>
          <ac:grpSpMkLst>
            <pc:docMk/>
            <pc:sldMk cId="2604812875" sldId="2007579888"/>
            <ac:grpSpMk id="185" creationId="{E94F7E51-965C-7D4F-27DF-818BC16ABBE8}"/>
          </ac:grpSpMkLst>
        </pc:grpChg>
        <pc:grpChg chg="mod">
          <ac:chgData name="TOMIDA, Rei" userId="932807cb-e20e-4938-a276-88bbf4cb8e42" providerId="ADAL" clId="{AD0C3BFC-7C82-4928-BDFE-B514B105C1E6}" dt="2024-02-15T09:40:31.147" v="103"/>
          <ac:grpSpMkLst>
            <pc:docMk/>
            <pc:sldMk cId="2604812875" sldId="2007579888"/>
            <ac:grpSpMk id="187" creationId="{F2DC6E31-B183-40C8-CD0F-2E5F2D651C2B}"/>
          </ac:grpSpMkLst>
        </pc:grpChg>
        <pc:grpChg chg="mod">
          <ac:chgData name="TOMIDA, Rei" userId="932807cb-e20e-4938-a276-88bbf4cb8e42" providerId="ADAL" clId="{AD0C3BFC-7C82-4928-BDFE-B514B105C1E6}" dt="2024-02-15T09:40:31.147" v="103"/>
          <ac:grpSpMkLst>
            <pc:docMk/>
            <pc:sldMk cId="2604812875" sldId="2007579888"/>
            <ac:grpSpMk id="189" creationId="{F653CE6A-B546-764B-DC25-2AC96208BEC9}"/>
          </ac:grpSpMkLst>
        </pc:grpChg>
        <pc:grpChg chg="mod">
          <ac:chgData name="TOMIDA, Rei" userId="932807cb-e20e-4938-a276-88bbf4cb8e42" providerId="ADAL" clId="{AD0C3BFC-7C82-4928-BDFE-B514B105C1E6}" dt="2024-02-15T09:40:31.147" v="103"/>
          <ac:grpSpMkLst>
            <pc:docMk/>
            <pc:sldMk cId="2604812875" sldId="2007579888"/>
            <ac:grpSpMk id="193" creationId="{BB80B0B8-9542-B4D9-5DE3-5680238A9D52}"/>
          </ac:grpSpMkLst>
        </pc:grpChg>
        <pc:grpChg chg="mod">
          <ac:chgData name="TOMIDA, Rei" userId="932807cb-e20e-4938-a276-88bbf4cb8e42" providerId="ADAL" clId="{AD0C3BFC-7C82-4928-BDFE-B514B105C1E6}" dt="2024-02-15T09:40:31.147" v="103"/>
          <ac:grpSpMkLst>
            <pc:docMk/>
            <pc:sldMk cId="2604812875" sldId="2007579888"/>
            <ac:grpSpMk id="195" creationId="{F624C71A-AA98-2EBD-7B4F-1BD63898C41B}"/>
          </ac:grpSpMkLst>
        </pc:grpChg>
        <pc:grpChg chg="mod">
          <ac:chgData name="TOMIDA, Rei" userId="932807cb-e20e-4938-a276-88bbf4cb8e42" providerId="ADAL" clId="{AD0C3BFC-7C82-4928-BDFE-B514B105C1E6}" dt="2024-02-15T09:40:31.147" v="103"/>
          <ac:grpSpMkLst>
            <pc:docMk/>
            <pc:sldMk cId="2604812875" sldId="2007579888"/>
            <ac:grpSpMk id="199" creationId="{FBD5466C-EA8F-AA9C-0BE3-9B9AB45841B8}"/>
          </ac:grpSpMkLst>
        </pc:grpChg>
        <pc:grpChg chg="mod">
          <ac:chgData name="TOMIDA, Rei" userId="932807cb-e20e-4938-a276-88bbf4cb8e42" providerId="ADAL" clId="{AD0C3BFC-7C82-4928-BDFE-B514B105C1E6}" dt="2024-02-15T09:40:31.147" v="103"/>
          <ac:grpSpMkLst>
            <pc:docMk/>
            <pc:sldMk cId="2604812875" sldId="2007579888"/>
            <ac:grpSpMk id="201" creationId="{51DE68A1-1D8F-5A21-6ED5-55CBDDBFCA6F}"/>
          </ac:grpSpMkLst>
        </pc:grpChg>
        <pc:picChg chg="del">
          <ac:chgData name="TOMIDA, Rei" userId="932807cb-e20e-4938-a276-88bbf4cb8e42" providerId="ADAL" clId="{AD0C3BFC-7C82-4928-BDFE-B514B105C1E6}" dt="2024-02-15T09:34:38.057" v="80" actId="478"/>
          <ac:picMkLst>
            <pc:docMk/>
            <pc:sldMk cId="2604812875" sldId="2007579888"/>
            <ac:picMk id="6" creationId="{FE26CDEF-02B7-858B-9601-640B75F848E0}"/>
          </ac:picMkLst>
        </pc:picChg>
        <pc:picChg chg="del">
          <ac:chgData name="TOMIDA, Rei" userId="932807cb-e20e-4938-a276-88bbf4cb8e42" providerId="ADAL" clId="{AD0C3BFC-7C82-4928-BDFE-B514B105C1E6}" dt="2024-02-15T09:34:38.956" v="81" actId="478"/>
          <ac:picMkLst>
            <pc:docMk/>
            <pc:sldMk cId="2604812875" sldId="2007579888"/>
            <ac:picMk id="7" creationId="{52A833FE-21B8-56CA-436D-452954A36D19}"/>
          </ac:picMkLst>
        </pc:picChg>
        <pc:picChg chg="mod">
          <ac:chgData name="TOMIDA, Rei" userId="932807cb-e20e-4938-a276-88bbf4cb8e42" providerId="ADAL" clId="{AD0C3BFC-7C82-4928-BDFE-B514B105C1E6}" dt="2024-02-15T09:35:30.803" v="98" actId="1038"/>
          <ac:picMkLst>
            <pc:docMk/>
            <pc:sldMk cId="2604812875" sldId="2007579888"/>
            <ac:picMk id="11" creationId="{71E482C9-E89F-5374-6211-39B03AEDCDD5}"/>
          </ac:picMkLst>
        </pc:picChg>
        <pc:picChg chg="mod">
          <ac:chgData name="TOMIDA, Rei" userId="932807cb-e20e-4938-a276-88bbf4cb8e42" providerId="ADAL" clId="{AD0C3BFC-7C82-4928-BDFE-B514B105C1E6}" dt="2024-02-15T09:35:30.803" v="98" actId="1038"/>
          <ac:picMkLst>
            <pc:docMk/>
            <pc:sldMk cId="2604812875" sldId="2007579888"/>
            <ac:picMk id="17" creationId="{7E212485-B4EB-5078-9FBC-11D3F3CCC440}"/>
          </ac:picMkLst>
        </pc:picChg>
        <pc:picChg chg="mod">
          <ac:chgData name="TOMIDA, Rei" userId="932807cb-e20e-4938-a276-88bbf4cb8e42" providerId="ADAL" clId="{AD0C3BFC-7C82-4928-BDFE-B514B105C1E6}" dt="2024-02-15T09:35:30.803" v="98" actId="1038"/>
          <ac:picMkLst>
            <pc:docMk/>
            <pc:sldMk cId="2604812875" sldId="2007579888"/>
            <ac:picMk id="23" creationId="{06D98EF3-C9BD-B2A5-3724-E921BEFDE268}"/>
          </ac:picMkLst>
        </pc:picChg>
        <pc:picChg chg="mod">
          <ac:chgData name="TOMIDA, Rei" userId="932807cb-e20e-4938-a276-88bbf4cb8e42" providerId="ADAL" clId="{AD0C3BFC-7C82-4928-BDFE-B514B105C1E6}" dt="2024-02-15T09:35:30.803" v="98" actId="1038"/>
          <ac:picMkLst>
            <pc:docMk/>
            <pc:sldMk cId="2604812875" sldId="2007579888"/>
            <ac:picMk id="34" creationId="{186342F8-C174-2E99-DCB0-59CD9A14F249}"/>
          </ac:picMkLst>
        </pc:picChg>
        <pc:picChg chg="mod">
          <ac:chgData name="TOMIDA, Rei" userId="932807cb-e20e-4938-a276-88bbf4cb8e42" providerId="ADAL" clId="{AD0C3BFC-7C82-4928-BDFE-B514B105C1E6}" dt="2024-02-15T09:35:30.803" v="98" actId="1038"/>
          <ac:picMkLst>
            <pc:docMk/>
            <pc:sldMk cId="2604812875" sldId="2007579888"/>
            <ac:picMk id="40" creationId="{9677ED80-6658-2CA1-D233-FB5DD0991D33}"/>
          </ac:picMkLst>
        </pc:picChg>
        <pc:picChg chg="mod">
          <ac:chgData name="TOMIDA, Rei" userId="932807cb-e20e-4938-a276-88bbf4cb8e42" providerId="ADAL" clId="{AD0C3BFC-7C82-4928-BDFE-B514B105C1E6}" dt="2024-02-15T09:35:30.803" v="98" actId="1038"/>
          <ac:picMkLst>
            <pc:docMk/>
            <pc:sldMk cId="2604812875" sldId="2007579888"/>
            <ac:picMk id="46" creationId="{25D6A2A0-4F6D-954E-CD41-065DC21D95DB}"/>
          </ac:picMkLst>
        </pc:picChg>
        <pc:picChg chg="mod">
          <ac:chgData name="TOMIDA, Rei" userId="932807cb-e20e-4938-a276-88bbf4cb8e42" providerId="ADAL" clId="{AD0C3BFC-7C82-4928-BDFE-B514B105C1E6}" dt="2024-02-15T09:35:30.803" v="98" actId="1038"/>
          <ac:picMkLst>
            <pc:docMk/>
            <pc:sldMk cId="2604812875" sldId="2007579888"/>
            <ac:picMk id="56" creationId="{9D540712-A023-862F-B14A-C39E64F0DC07}"/>
          </ac:picMkLst>
        </pc:picChg>
        <pc:picChg chg="mod">
          <ac:chgData name="TOMIDA, Rei" userId="932807cb-e20e-4938-a276-88bbf4cb8e42" providerId="ADAL" clId="{AD0C3BFC-7C82-4928-BDFE-B514B105C1E6}" dt="2024-02-15T09:35:30.803" v="98" actId="1038"/>
          <ac:picMkLst>
            <pc:docMk/>
            <pc:sldMk cId="2604812875" sldId="2007579888"/>
            <ac:picMk id="62" creationId="{14186C78-BC07-33EC-C425-85ADBC516657}"/>
          </ac:picMkLst>
        </pc:picChg>
        <pc:picChg chg="mod">
          <ac:chgData name="TOMIDA, Rei" userId="932807cb-e20e-4938-a276-88bbf4cb8e42" providerId="ADAL" clId="{AD0C3BFC-7C82-4928-BDFE-B514B105C1E6}" dt="2024-02-15T09:35:30.803" v="98" actId="1038"/>
          <ac:picMkLst>
            <pc:docMk/>
            <pc:sldMk cId="2604812875" sldId="2007579888"/>
            <ac:picMk id="68" creationId="{4C3CBEA2-225D-8DDD-1D99-8C4F1A7B2374}"/>
          </ac:picMkLst>
        </pc:picChg>
        <pc:picChg chg="mod">
          <ac:chgData name="TOMIDA, Rei" userId="932807cb-e20e-4938-a276-88bbf4cb8e42" providerId="ADAL" clId="{AD0C3BFC-7C82-4928-BDFE-B514B105C1E6}" dt="2024-02-15T09:44:07.518" v="189" actId="1036"/>
          <ac:picMkLst>
            <pc:docMk/>
            <pc:sldMk cId="2604812875" sldId="2007579888"/>
            <ac:picMk id="78" creationId="{C34425B8-2E46-BA72-15B5-76FD6CCA39DD}"/>
          </ac:picMkLst>
        </pc:picChg>
        <pc:picChg chg="mod">
          <ac:chgData name="TOMIDA, Rei" userId="932807cb-e20e-4938-a276-88bbf4cb8e42" providerId="ADAL" clId="{AD0C3BFC-7C82-4928-BDFE-B514B105C1E6}" dt="2024-02-15T09:44:07.518" v="189" actId="1036"/>
          <ac:picMkLst>
            <pc:docMk/>
            <pc:sldMk cId="2604812875" sldId="2007579888"/>
            <ac:picMk id="84" creationId="{4431F4DD-26D9-90DD-9B07-575AB517CC83}"/>
          </ac:picMkLst>
        </pc:picChg>
        <pc:picChg chg="mod">
          <ac:chgData name="TOMIDA, Rei" userId="932807cb-e20e-4938-a276-88bbf4cb8e42" providerId="ADAL" clId="{AD0C3BFC-7C82-4928-BDFE-B514B105C1E6}" dt="2024-02-15T09:44:07.518" v="189" actId="1036"/>
          <ac:picMkLst>
            <pc:docMk/>
            <pc:sldMk cId="2604812875" sldId="2007579888"/>
            <ac:picMk id="90" creationId="{F93D2FE0-528E-A136-C39C-D63681F7884B}"/>
          </ac:picMkLst>
        </pc:picChg>
        <pc:picChg chg="mod">
          <ac:chgData name="TOMIDA, Rei" userId="932807cb-e20e-4938-a276-88bbf4cb8e42" providerId="ADAL" clId="{AD0C3BFC-7C82-4928-BDFE-B514B105C1E6}" dt="2024-02-15T09:43:59.973" v="176" actId="1036"/>
          <ac:picMkLst>
            <pc:docMk/>
            <pc:sldMk cId="2604812875" sldId="2007579888"/>
            <ac:picMk id="100" creationId="{2A6382BB-14A5-FE9B-27C0-CC132B084224}"/>
          </ac:picMkLst>
        </pc:picChg>
        <pc:picChg chg="mod">
          <ac:chgData name="TOMIDA, Rei" userId="932807cb-e20e-4938-a276-88bbf4cb8e42" providerId="ADAL" clId="{AD0C3BFC-7C82-4928-BDFE-B514B105C1E6}" dt="2024-02-15T09:43:59.973" v="176" actId="1036"/>
          <ac:picMkLst>
            <pc:docMk/>
            <pc:sldMk cId="2604812875" sldId="2007579888"/>
            <ac:picMk id="106" creationId="{C99E49E1-2E58-59C7-0500-E412851704A0}"/>
          </ac:picMkLst>
        </pc:picChg>
        <pc:picChg chg="mod">
          <ac:chgData name="TOMIDA, Rei" userId="932807cb-e20e-4938-a276-88bbf4cb8e42" providerId="ADAL" clId="{AD0C3BFC-7C82-4928-BDFE-B514B105C1E6}" dt="2024-02-15T09:43:59.973" v="176" actId="1036"/>
          <ac:picMkLst>
            <pc:docMk/>
            <pc:sldMk cId="2604812875" sldId="2007579888"/>
            <ac:picMk id="112" creationId="{CA46EABF-7D44-E38B-2BF2-73F98F5375BF}"/>
          </ac:picMkLst>
        </pc:picChg>
        <pc:picChg chg="mod">
          <ac:chgData name="TOMIDA, Rei" userId="932807cb-e20e-4938-a276-88bbf4cb8e42" providerId="ADAL" clId="{AD0C3BFC-7C82-4928-BDFE-B514B105C1E6}" dt="2024-02-15T09:43:44.563" v="166" actId="14100"/>
          <ac:picMkLst>
            <pc:docMk/>
            <pc:sldMk cId="2604812875" sldId="2007579888"/>
            <ac:picMk id="122" creationId="{DA1D9959-3258-DC79-AB3F-F6C54B597B0A}"/>
          </ac:picMkLst>
        </pc:picChg>
        <pc:picChg chg="mod">
          <ac:chgData name="TOMIDA, Rei" userId="932807cb-e20e-4938-a276-88bbf4cb8e42" providerId="ADAL" clId="{AD0C3BFC-7C82-4928-BDFE-B514B105C1E6}" dt="2024-02-15T09:43:44.563" v="166" actId="14100"/>
          <ac:picMkLst>
            <pc:docMk/>
            <pc:sldMk cId="2604812875" sldId="2007579888"/>
            <ac:picMk id="128" creationId="{22E9CD04-A1CE-1068-8BAC-AAB7D38753CC}"/>
          </ac:picMkLst>
        </pc:picChg>
        <pc:picChg chg="mod">
          <ac:chgData name="TOMIDA, Rei" userId="932807cb-e20e-4938-a276-88bbf4cb8e42" providerId="ADAL" clId="{AD0C3BFC-7C82-4928-BDFE-B514B105C1E6}" dt="2024-02-15T09:43:44.563" v="166" actId="14100"/>
          <ac:picMkLst>
            <pc:docMk/>
            <pc:sldMk cId="2604812875" sldId="2007579888"/>
            <ac:picMk id="134" creationId="{3676677F-FA3E-64DD-E236-FECA84CF532B}"/>
          </ac:picMkLst>
        </pc:picChg>
        <pc:picChg chg="mod">
          <ac:chgData name="TOMIDA, Rei" userId="932807cb-e20e-4938-a276-88bbf4cb8e42" providerId="ADAL" clId="{AD0C3BFC-7C82-4928-BDFE-B514B105C1E6}" dt="2024-02-15T09:40:31.147" v="103"/>
          <ac:picMkLst>
            <pc:docMk/>
            <pc:sldMk cId="2604812875" sldId="2007579888"/>
            <ac:picMk id="144" creationId="{FF2084FA-739B-AAB1-060D-E43E6942CE70}"/>
          </ac:picMkLst>
        </pc:picChg>
        <pc:picChg chg="mod">
          <ac:chgData name="TOMIDA, Rei" userId="932807cb-e20e-4938-a276-88bbf4cb8e42" providerId="ADAL" clId="{AD0C3BFC-7C82-4928-BDFE-B514B105C1E6}" dt="2024-02-15T09:40:31.147" v="103"/>
          <ac:picMkLst>
            <pc:docMk/>
            <pc:sldMk cId="2604812875" sldId="2007579888"/>
            <ac:picMk id="150" creationId="{B989868A-5CD3-15CE-E061-1CDD5D1914C4}"/>
          </ac:picMkLst>
        </pc:picChg>
        <pc:picChg chg="mod">
          <ac:chgData name="TOMIDA, Rei" userId="932807cb-e20e-4938-a276-88bbf4cb8e42" providerId="ADAL" clId="{AD0C3BFC-7C82-4928-BDFE-B514B105C1E6}" dt="2024-02-15T09:40:31.147" v="103"/>
          <ac:picMkLst>
            <pc:docMk/>
            <pc:sldMk cId="2604812875" sldId="2007579888"/>
            <ac:picMk id="156" creationId="{7554E3FD-E410-5716-E8B5-097442CB5492}"/>
          </ac:picMkLst>
        </pc:picChg>
        <pc:picChg chg="mod">
          <ac:chgData name="TOMIDA, Rei" userId="932807cb-e20e-4938-a276-88bbf4cb8e42" providerId="ADAL" clId="{AD0C3BFC-7C82-4928-BDFE-B514B105C1E6}" dt="2024-02-15T09:40:31.147" v="103"/>
          <ac:picMkLst>
            <pc:docMk/>
            <pc:sldMk cId="2604812875" sldId="2007579888"/>
            <ac:picMk id="166" creationId="{82F6DC2D-46ED-3BE5-BECE-12973055B4C4}"/>
          </ac:picMkLst>
        </pc:picChg>
        <pc:picChg chg="mod">
          <ac:chgData name="TOMIDA, Rei" userId="932807cb-e20e-4938-a276-88bbf4cb8e42" providerId="ADAL" clId="{AD0C3BFC-7C82-4928-BDFE-B514B105C1E6}" dt="2024-02-15T09:40:31.147" v="103"/>
          <ac:picMkLst>
            <pc:docMk/>
            <pc:sldMk cId="2604812875" sldId="2007579888"/>
            <ac:picMk id="172" creationId="{F60D2029-23F8-D2A5-0BCD-ACFE04DFDACB}"/>
          </ac:picMkLst>
        </pc:picChg>
        <pc:picChg chg="mod">
          <ac:chgData name="TOMIDA, Rei" userId="932807cb-e20e-4938-a276-88bbf4cb8e42" providerId="ADAL" clId="{AD0C3BFC-7C82-4928-BDFE-B514B105C1E6}" dt="2024-02-15T09:40:31.147" v="103"/>
          <ac:picMkLst>
            <pc:docMk/>
            <pc:sldMk cId="2604812875" sldId="2007579888"/>
            <ac:picMk id="178" creationId="{DC98388E-072D-1B80-60E9-E0ED1CAC1731}"/>
          </ac:picMkLst>
        </pc:picChg>
        <pc:picChg chg="mod">
          <ac:chgData name="TOMIDA, Rei" userId="932807cb-e20e-4938-a276-88bbf4cb8e42" providerId="ADAL" clId="{AD0C3BFC-7C82-4928-BDFE-B514B105C1E6}" dt="2024-02-15T09:40:31.147" v="103"/>
          <ac:picMkLst>
            <pc:docMk/>
            <pc:sldMk cId="2604812875" sldId="2007579888"/>
            <ac:picMk id="188" creationId="{4FF7E2F0-4AC8-038C-F42D-6E92BAB06AAC}"/>
          </ac:picMkLst>
        </pc:picChg>
        <pc:picChg chg="mod">
          <ac:chgData name="TOMIDA, Rei" userId="932807cb-e20e-4938-a276-88bbf4cb8e42" providerId="ADAL" clId="{AD0C3BFC-7C82-4928-BDFE-B514B105C1E6}" dt="2024-02-15T09:40:31.147" v="103"/>
          <ac:picMkLst>
            <pc:docMk/>
            <pc:sldMk cId="2604812875" sldId="2007579888"/>
            <ac:picMk id="194" creationId="{4CE161AB-3DF9-4134-7503-4364EA553246}"/>
          </ac:picMkLst>
        </pc:picChg>
        <pc:picChg chg="mod">
          <ac:chgData name="TOMIDA, Rei" userId="932807cb-e20e-4938-a276-88bbf4cb8e42" providerId="ADAL" clId="{AD0C3BFC-7C82-4928-BDFE-B514B105C1E6}" dt="2024-02-15T09:40:31.147" v="103"/>
          <ac:picMkLst>
            <pc:docMk/>
            <pc:sldMk cId="2604812875" sldId="2007579888"/>
            <ac:picMk id="200" creationId="{CC549CC3-DEFC-345C-3190-76450A48937B}"/>
          </ac:picMkLst>
        </pc:picChg>
      </pc:sldChg>
      <pc:sldChg chg="addSp delSp modSp add mod">
        <pc:chgData name="TOMIDA, Rei" userId="932807cb-e20e-4938-a276-88bbf4cb8e42" providerId="ADAL" clId="{AD0C3BFC-7C82-4928-BDFE-B514B105C1E6}" dt="2024-02-15T10:22:03.235" v="1132" actId="20577"/>
        <pc:sldMkLst>
          <pc:docMk/>
          <pc:sldMk cId="2065006525" sldId="2007579889"/>
        </pc:sldMkLst>
        <pc:spChg chg="mod">
          <ac:chgData name="TOMIDA, Rei" userId="932807cb-e20e-4938-a276-88bbf4cb8e42" providerId="ADAL" clId="{AD0C3BFC-7C82-4928-BDFE-B514B105C1E6}" dt="2024-02-15T10:14:20.002" v="904"/>
          <ac:spMkLst>
            <pc:docMk/>
            <pc:sldMk cId="2065006525" sldId="2007579889"/>
            <ac:spMk id="3" creationId="{B3C87816-C489-6E5E-C7B1-FD9ADF357B62}"/>
          </ac:spMkLst>
        </pc:spChg>
        <pc:spChg chg="mod">
          <ac:chgData name="TOMIDA, Rei" userId="932807cb-e20e-4938-a276-88bbf4cb8e42" providerId="ADAL" clId="{AD0C3BFC-7C82-4928-BDFE-B514B105C1E6}" dt="2024-02-15T10:22:03.235" v="1132" actId="20577"/>
          <ac:spMkLst>
            <pc:docMk/>
            <pc:sldMk cId="2065006525" sldId="2007579889"/>
            <ac:spMk id="16" creationId="{01AD0DBB-A67F-44CB-3582-869DDEB4A67A}"/>
          </ac:spMkLst>
        </pc:spChg>
        <pc:picChg chg="del">
          <ac:chgData name="TOMIDA, Rei" userId="932807cb-e20e-4938-a276-88bbf4cb8e42" providerId="ADAL" clId="{AD0C3BFC-7C82-4928-BDFE-B514B105C1E6}" dt="2024-02-15T10:08:46.529" v="730" actId="478"/>
          <ac:picMkLst>
            <pc:docMk/>
            <pc:sldMk cId="2065006525" sldId="2007579889"/>
            <ac:picMk id="5" creationId="{D20A5C47-7C16-6BD9-356C-4E4FD355B11C}"/>
          </ac:picMkLst>
        </pc:picChg>
        <pc:picChg chg="add del mod">
          <ac:chgData name="TOMIDA, Rei" userId="932807cb-e20e-4938-a276-88bbf4cb8e42" providerId="ADAL" clId="{AD0C3BFC-7C82-4928-BDFE-B514B105C1E6}" dt="2024-02-15T10:13:16.239" v="777" actId="478"/>
          <ac:picMkLst>
            <pc:docMk/>
            <pc:sldMk cId="2065006525" sldId="2007579889"/>
            <ac:picMk id="6" creationId="{8BE4132F-0B21-5D0C-3D4E-111C2506D191}"/>
          </ac:picMkLst>
        </pc:picChg>
        <pc:picChg chg="add del mod">
          <ac:chgData name="TOMIDA, Rei" userId="932807cb-e20e-4938-a276-88bbf4cb8e42" providerId="ADAL" clId="{AD0C3BFC-7C82-4928-BDFE-B514B105C1E6}" dt="2024-02-15T10:13:16.239" v="777" actId="478"/>
          <ac:picMkLst>
            <pc:docMk/>
            <pc:sldMk cId="2065006525" sldId="2007579889"/>
            <ac:picMk id="8" creationId="{6644CB5C-82AE-3F92-B739-64D0694A18C4}"/>
          </ac:picMkLst>
        </pc:picChg>
        <pc:picChg chg="add del mod">
          <ac:chgData name="TOMIDA, Rei" userId="932807cb-e20e-4938-a276-88bbf4cb8e42" providerId="ADAL" clId="{AD0C3BFC-7C82-4928-BDFE-B514B105C1E6}" dt="2024-02-15T10:13:16.239" v="777" actId="478"/>
          <ac:picMkLst>
            <pc:docMk/>
            <pc:sldMk cId="2065006525" sldId="2007579889"/>
            <ac:picMk id="10" creationId="{CA7697A5-A71D-6BC4-DA93-01A6FBB62790}"/>
          </ac:picMkLst>
        </pc:picChg>
        <pc:picChg chg="del">
          <ac:chgData name="TOMIDA, Rei" userId="932807cb-e20e-4938-a276-88bbf4cb8e42" providerId="ADAL" clId="{AD0C3BFC-7C82-4928-BDFE-B514B105C1E6}" dt="2024-02-15T10:08:47.193" v="731" actId="478"/>
          <ac:picMkLst>
            <pc:docMk/>
            <pc:sldMk cId="2065006525" sldId="2007579889"/>
            <ac:picMk id="12" creationId="{7F4C1C41-B80C-15C1-C014-22C4031DBC35}"/>
          </ac:picMkLst>
        </pc:picChg>
        <pc:picChg chg="add mod">
          <ac:chgData name="TOMIDA, Rei" userId="932807cb-e20e-4938-a276-88bbf4cb8e42" providerId="ADAL" clId="{AD0C3BFC-7C82-4928-BDFE-B514B105C1E6}" dt="2024-02-15T10:21:38.932" v="1127" actId="1036"/>
          <ac:picMkLst>
            <pc:docMk/>
            <pc:sldMk cId="2065006525" sldId="2007579889"/>
            <ac:picMk id="13" creationId="{F32669F0-F834-F458-446A-AF145C4C60E6}"/>
          </ac:picMkLst>
        </pc:picChg>
        <pc:picChg chg="add mod">
          <ac:chgData name="TOMIDA, Rei" userId="932807cb-e20e-4938-a276-88bbf4cb8e42" providerId="ADAL" clId="{AD0C3BFC-7C82-4928-BDFE-B514B105C1E6}" dt="2024-02-15T10:21:36.098" v="1124" actId="14100"/>
          <ac:picMkLst>
            <pc:docMk/>
            <pc:sldMk cId="2065006525" sldId="2007579889"/>
            <ac:picMk id="15" creationId="{4D05EB86-FF33-3814-EA8D-F0E890EC01A2}"/>
          </ac:picMkLst>
        </pc:picChg>
      </pc:sldChg>
      <pc:sldChg chg="add del">
        <pc:chgData name="TOMIDA, Rei" userId="932807cb-e20e-4938-a276-88bbf4cb8e42" providerId="ADAL" clId="{AD0C3BFC-7C82-4928-BDFE-B514B105C1E6}" dt="2024-02-15T09:34:45.789" v="84"/>
        <pc:sldMkLst>
          <pc:docMk/>
          <pc:sldMk cId="2874319822" sldId="2007579889"/>
        </pc:sldMkLst>
      </pc:sldChg>
      <pc:sldChg chg="addSp delSp modSp add mod">
        <pc:chgData name="TOMIDA, Rei" userId="932807cb-e20e-4938-a276-88bbf4cb8e42" providerId="ADAL" clId="{AD0C3BFC-7C82-4928-BDFE-B514B105C1E6}" dt="2024-02-15T10:50:00.169" v="1307" actId="1076"/>
        <pc:sldMkLst>
          <pc:docMk/>
          <pc:sldMk cId="1613103487" sldId="2007579890"/>
        </pc:sldMkLst>
        <pc:spChg chg="mod">
          <ac:chgData name="TOMIDA, Rei" userId="932807cb-e20e-4938-a276-88bbf4cb8e42" providerId="ADAL" clId="{AD0C3BFC-7C82-4928-BDFE-B514B105C1E6}" dt="2024-02-15T10:48:14.026" v="1288" actId="20577"/>
          <ac:spMkLst>
            <pc:docMk/>
            <pc:sldMk cId="1613103487" sldId="2007579890"/>
            <ac:spMk id="16" creationId="{01AD0DBB-A67F-44CB-3582-869DDEB4A67A}"/>
          </ac:spMkLst>
        </pc:spChg>
        <pc:picChg chg="add del mod">
          <ac:chgData name="TOMIDA, Rei" userId="932807cb-e20e-4938-a276-88bbf4cb8e42" providerId="ADAL" clId="{AD0C3BFC-7C82-4928-BDFE-B514B105C1E6}" dt="2024-02-15T10:43:11.308" v="1253" actId="478"/>
          <ac:picMkLst>
            <pc:docMk/>
            <pc:sldMk cId="1613103487" sldId="2007579890"/>
            <ac:picMk id="5" creationId="{4C97C165-B006-E99D-11D3-787136A8D71F}"/>
          </ac:picMkLst>
        </pc:picChg>
        <pc:picChg chg="add del mod">
          <ac:chgData name="TOMIDA, Rei" userId="932807cb-e20e-4938-a276-88bbf4cb8e42" providerId="ADAL" clId="{AD0C3BFC-7C82-4928-BDFE-B514B105C1E6}" dt="2024-02-15T10:46:42.005" v="1272" actId="478"/>
          <ac:picMkLst>
            <pc:docMk/>
            <pc:sldMk cId="1613103487" sldId="2007579890"/>
            <ac:picMk id="7" creationId="{D924B91A-C7A9-F60A-3563-2860BE9A51A0}"/>
          </ac:picMkLst>
        </pc:picChg>
        <pc:picChg chg="add del mod">
          <ac:chgData name="TOMIDA, Rei" userId="932807cb-e20e-4938-a276-88bbf4cb8e42" providerId="ADAL" clId="{AD0C3BFC-7C82-4928-BDFE-B514B105C1E6}" dt="2024-02-15T10:49:44.305" v="1304" actId="478"/>
          <ac:picMkLst>
            <pc:docMk/>
            <pc:sldMk cId="1613103487" sldId="2007579890"/>
            <ac:picMk id="9" creationId="{AFD7E8DD-BC1D-7AB1-5070-B1881FA460F3}"/>
          </ac:picMkLst>
        </pc:picChg>
        <pc:picChg chg="add del mod">
          <ac:chgData name="TOMIDA, Rei" userId="932807cb-e20e-4938-a276-88bbf4cb8e42" providerId="ADAL" clId="{AD0C3BFC-7C82-4928-BDFE-B514B105C1E6}" dt="2024-02-15T10:49:43.382" v="1303" actId="478"/>
          <ac:picMkLst>
            <pc:docMk/>
            <pc:sldMk cId="1613103487" sldId="2007579890"/>
            <ac:picMk id="11" creationId="{0F0ED025-2F93-DA7E-0341-8C3227C245D5}"/>
          </ac:picMkLst>
        </pc:picChg>
        <pc:picChg chg="del">
          <ac:chgData name="TOMIDA, Rei" userId="932807cb-e20e-4938-a276-88bbf4cb8e42" providerId="ADAL" clId="{AD0C3BFC-7C82-4928-BDFE-B514B105C1E6}" dt="2024-02-15T10:29:21.395" v="1222" actId="478"/>
          <ac:picMkLst>
            <pc:docMk/>
            <pc:sldMk cId="1613103487" sldId="2007579890"/>
            <ac:picMk id="13" creationId="{F32669F0-F834-F458-446A-AF145C4C60E6}"/>
          </ac:picMkLst>
        </pc:picChg>
        <pc:picChg chg="add del mod">
          <ac:chgData name="TOMIDA, Rei" userId="932807cb-e20e-4938-a276-88bbf4cb8e42" providerId="ADAL" clId="{AD0C3BFC-7C82-4928-BDFE-B514B105C1E6}" dt="2024-02-15T10:49:44.757" v="1305" actId="478"/>
          <ac:picMkLst>
            <pc:docMk/>
            <pc:sldMk cId="1613103487" sldId="2007579890"/>
            <ac:picMk id="14" creationId="{51A634DC-4682-9A7A-6639-1ADFC64D1652}"/>
          </ac:picMkLst>
        </pc:picChg>
        <pc:picChg chg="del">
          <ac:chgData name="TOMIDA, Rei" userId="932807cb-e20e-4938-a276-88bbf4cb8e42" providerId="ADAL" clId="{AD0C3BFC-7C82-4928-BDFE-B514B105C1E6}" dt="2024-02-15T10:29:22.268" v="1223" actId="478"/>
          <ac:picMkLst>
            <pc:docMk/>
            <pc:sldMk cId="1613103487" sldId="2007579890"/>
            <ac:picMk id="15" creationId="{4D05EB86-FF33-3814-EA8D-F0E890EC01A2}"/>
          </ac:picMkLst>
        </pc:picChg>
        <pc:picChg chg="add mod">
          <ac:chgData name="TOMIDA, Rei" userId="932807cb-e20e-4938-a276-88bbf4cb8e42" providerId="ADAL" clId="{AD0C3BFC-7C82-4928-BDFE-B514B105C1E6}" dt="2024-02-15T10:50:00.169" v="1307" actId="1076"/>
          <ac:picMkLst>
            <pc:docMk/>
            <pc:sldMk cId="1613103487" sldId="2007579890"/>
            <ac:picMk id="18" creationId="{ABA9F072-0249-A831-A13C-9FC3E4877672}"/>
          </ac:picMkLst>
        </pc:picChg>
      </pc:sldChg>
      <pc:sldMasterChg chg="modSldLayout">
        <pc:chgData name="TOMIDA, Rei" userId="932807cb-e20e-4938-a276-88bbf4cb8e42" providerId="ADAL" clId="{AD0C3BFC-7C82-4928-BDFE-B514B105C1E6}" dt="2024-02-15T09:30:50.596" v="75" actId="1037"/>
        <pc:sldMasterMkLst>
          <pc:docMk/>
          <pc:sldMasterMk cId="0" sldId="2147483648"/>
        </pc:sldMasterMkLst>
        <pc:sldLayoutChg chg="addSp delSp modSp mod">
          <pc:chgData name="TOMIDA, Rei" userId="932807cb-e20e-4938-a276-88bbf4cb8e42" providerId="ADAL" clId="{AD0C3BFC-7C82-4928-BDFE-B514B105C1E6}" dt="2024-02-15T09:30:50.596" v="75" actId="1037"/>
          <pc:sldLayoutMkLst>
            <pc:docMk/>
            <pc:sldMasterMk cId="0" sldId="2147483648"/>
            <pc:sldLayoutMk cId="3437921399" sldId="2147483954"/>
          </pc:sldLayoutMkLst>
          <pc:picChg chg="mod">
            <ac:chgData name="TOMIDA, Rei" userId="932807cb-e20e-4938-a276-88bbf4cb8e42" providerId="ADAL" clId="{AD0C3BFC-7C82-4928-BDFE-B514B105C1E6}" dt="2024-02-15T09:30:46.051" v="59" actId="1037"/>
            <ac:picMkLst>
              <pc:docMk/>
              <pc:sldMasterMk cId="0" sldId="2147483648"/>
              <pc:sldLayoutMk cId="3437921399" sldId="2147483954"/>
              <ac:picMk id="4" creationId="{5B1F2DFA-201B-AC5B-7854-C7896AFF1AB6}"/>
            </ac:picMkLst>
          </pc:picChg>
          <pc:picChg chg="add mod">
            <ac:chgData name="TOMIDA, Rei" userId="932807cb-e20e-4938-a276-88bbf4cb8e42" providerId="ADAL" clId="{AD0C3BFC-7C82-4928-BDFE-B514B105C1E6}" dt="2024-02-15T09:30:50.596" v="75" actId="1037"/>
            <ac:picMkLst>
              <pc:docMk/>
              <pc:sldMasterMk cId="0" sldId="2147483648"/>
              <pc:sldLayoutMk cId="3437921399" sldId="2147483954"/>
              <ac:picMk id="8" creationId="{5D5A0F55-EFD0-C2FC-5371-8189BC929074}"/>
            </ac:picMkLst>
          </pc:picChg>
          <pc:picChg chg="del">
            <ac:chgData name="TOMIDA, Rei" userId="932807cb-e20e-4938-a276-88bbf4cb8e42" providerId="ADAL" clId="{AD0C3BFC-7C82-4928-BDFE-B514B105C1E6}" dt="2024-02-15T09:29:22.374" v="18" actId="478"/>
            <ac:picMkLst>
              <pc:docMk/>
              <pc:sldMasterMk cId="0" sldId="2147483648"/>
              <pc:sldLayoutMk cId="3437921399" sldId="2147483954"/>
              <ac:picMk id="9" creationId="{2FE06FE5-22EE-526B-3177-093CB7FC46F2}"/>
            </ac:picMkLst>
          </pc:picChg>
        </pc:sldLayoutChg>
      </pc:sldMasterChg>
      <pc:sldMasterChg chg="modSldLayout">
        <pc:chgData name="TOMIDA, Rei" userId="932807cb-e20e-4938-a276-88bbf4cb8e42" providerId="ADAL" clId="{AD0C3BFC-7C82-4928-BDFE-B514B105C1E6}" dt="2024-02-15T09:33:41.415" v="78" actId="478"/>
        <pc:sldMasterMkLst>
          <pc:docMk/>
          <pc:sldMasterMk cId="2481465558" sldId="2147483911"/>
        </pc:sldMasterMkLst>
        <pc:sldLayoutChg chg="delSp mod">
          <pc:chgData name="TOMIDA, Rei" userId="932807cb-e20e-4938-a276-88bbf4cb8e42" providerId="ADAL" clId="{AD0C3BFC-7C82-4928-BDFE-B514B105C1E6}" dt="2024-02-15T09:33:41.415" v="78" actId="478"/>
          <pc:sldLayoutMkLst>
            <pc:docMk/>
            <pc:sldMasterMk cId="2481465558" sldId="2147483911"/>
            <pc:sldLayoutMk cId="2494293748" sldId="2147483919"/>
          </pc:sldLayoutMkLst>
          <pc:picChg chg="del">
            <ac:chgData name="TOMIDA, Rei" userId="932807cb-e20e-4938-a276-88bbf4cb8e42" providerId="ADAL" clId="{AD0C3BFC-7C82-4928-BDFE-B514B105C1E6}" dt="2024-02-15T09:33:41.415" v="78" actId="478"/>
            <ac:picMkLst>
              <pc:docMk/>
              <pc:sldMasterMk cId="2481465558" sldId="2147483911"/>
              <pc:sldLayoutMk cId="2494293748" sldId="2147483919"/>
              <ac:picMk id="5" creationId="{CD84201B-EEEB-7F84-2BBE-D3547770656A}"/>
            </ac:picMkLst>
          </pc:picChg>
        </pc:sldLayoutChg>
      </pc:sldMasterChg>
    </pc:docChg>
  </pc:docChgLst>
  <pc:docChgLst>
    <pc:chgData name="TOMIDA, Rei" userId="932807cb-e20e-4938-a276-88bbf4cb8e42" providerId="ADAL" clId="{16342F80-BD85-4B3F-85E3-7312624F4C80}"/>
    <pc:docChg chg="undo custSel delSld modSld addMainMaster delMainMaster modMainMaster">
      <pc:chgData name="TOMIDA, Rei" userId="932807cb-e20e-4938-a276-88bbf4cb8e42" providerId="ADAL" clId="{16342F80-BD85-4B3F-85E3-7312624F4C80}" dt="2024-02-15T11:05:11.779" v="76" actId="1076"/>
      <pc:docMkLst>
        <pc:docMk/>
      </pc:docMkLst>
      <pc:sldChg chg="addSp delSp modSp mod">
        <pc:chgData name="TOMIDA, Rei" userId="932807cb-e20e-4938-a276-88bbf4cb8e42" providerId="ADAL" clId="{16342F80-BD85-4B3F-85E3-7312624F4C80}" dt="2024-02-15T11:05:11.779" v="76" actId="1076"/>
        <pc:sldMkLst>
          <pc:docMk/>
          <pc:sldMk cId="1044430555" sldId="382"/>
        </pc:sldMkLst>
        <pc:picChg chg="add del mod">
          <ac:chgData name="TOMIDA, Rei" userId="932807cb-e20e-4938-a276-88bbf4cb8e42" providerId="ADAL" clId="{16342F80-BD85-4B3F-85E3-7312624F4C80}" dt="2024-02-15T11:03:05.340" v="52" actId="478"/>
          <ac:picMkLst>
            <pc:docMk/>
            <pc:sldMk cId="1044430555" sldId="382"/>
            <ac:picMk id="3" creationId="{B1E6B009-C8AF-1F76-ED2C-836C9F03B845}"/>
          </ac:picMkLst>
        </pc:picChg>
        <pc:picChg chg="del mod">
          <ac:chgData name="TOMIDA, Rei" userId="932807cb-e20e-4938-a276-88bbf4cb8e42" providerId="ADAL" clId="{16342F80-BD85-4B3F-85E3-7312624F4C80}" dt="2024-02-15T11:03:02.725" v="51" actId="478"/>
          <ac:picMkLst>
            <pc:docMk/>
            <pc:sldMk cId="1044430555" sldId="382"/>
            <ac:picMk id="5" creationId="{400AF57D-6147-3DA8-EB25-1F7CEC0FB4BC}"/>
          </ac:picMkLst>
        </pc:picChg>
        <pc:picChg chg="add mod">
          <ac:chgData name="TOMIDA, Rei" userId="932807cb-e20e-4938-a276-88bbf4cb8e42" providerId="ADAL" clId="{16342F80-BD85-4B3F-85E3-7312624F4C80}" dt="2024-02-15T11:05:11.779" v="76" actId="1076"/>
          <ac:picMkLst>
            <pc:docMk/>
            <pc:sldMk cId="1044430555" sldId="382"/>
            <ac:picMk id="7" creationId="{DE472A29-CD3E-77D5-DBBE-E65A9D50AB2E}"/>
          </ac:picMkLst>
        </pc:picChg>
        <pc:picChg chg="add del mod">
          <ac:chgData name="TOMIDA, Rei" userId="932807cb-e20e-4938-a276-88bbf4cb8e42" providerId="ADAL" clId="{16342F80-BD85-4B3F-85E3-7312624F4C80}" dt="2024-02-15T11:04:09.472" v="60" actId="478"/>
          <ac:picMkLst>
            <pc:docMk/>
            <pc:sldMk cId="1044430555" sldId="382"/>
            <ac:picMk id="9" creationId="{46D9C9FF-1E0E-656F-2BBD-7330F2E8BFB6}"/>
          </ac:picMkLst>
        </pc:picChg>
        <pc:picChg chg="add mod">
          <ac:chgData name="TOMIDA, Rei" userId="932807cb-e20e-4938-a276-88bbf4cb8e42" providerId="ADAL" clId="{16342F80-BD85-4B3F-85E3-7312624F4C80}" dt="2024-02-15T11:04:35.924" v="72" actId="1076"/>
          <ac:picMkLst>
            <pc:docMk/>
            <pc:sldMk cId="1044430555" sldId="382"/>
            <ac:picMk id="11" creationId="{AC446B02-4F7D-3AFE-C0B5-AE8FD89FD254}"/>
          </ac:picMkLst>
        </pc:picChg>
        <pc:picChg chg="del">
          <ac:chgData name="TOMIDA, Rei" userId="932807cb-e20e-4938-a276-88bbf4cb8e42" providerId="ADAL" clId="{16342F80-BD85-4B3F-85E3-7312624F4C80}" dt="2024-02-15T11:03:19.804" v="53" actId="478"/>
          <ac:picMkLst>
            <pc:docMk/>
            <pc:sldMk cId="1044430555" sldId="382"/>
            <ac:picMk id="1026" creationId="{41EFDE6B-232B-BCB2-C3BC-38F14E371087}"/>
          </ac:picMkLst>
        </pc:picChg>
      </pc:sldChg>
      <pc:sldChg chg="modSp mod">
        <pc:chgData name="TOMIDA, Rei" userId="932807cb-e20e-4938-a276-88bbf4cb8e42" providerId="ADAL" clId="{16342F80-BD85-4B3F-85E3-7312624F4C80}" dt="2024-02-15T10:58:23.591" v="11"/>
        <pc:sldMkLst>
          <pc:docMk/>
          <pc:sldMk cId="722576719" sldId="570"/>
        </pc:sldMkLst>
        <pc:spChg chg="mod">
          <ac:chgData name="TOMIDA, Rei" userId="932807cb-e20e-4938-a276-88bbf4cb8e42" providerId="ADAL" clId="{16342F80-BD85-4B3F-85E3-7312624F4C80}" dt="2024-02-15T10:58:23.591" v="11"/>
          <ac:spMkLst>
            <pc:docMk/>
            <pc:sldMk cId="722576719" sldId="570"/>
            <ac:spMk id="3" creationId="{B3C87816-C489-6E5E-C7B1-FD9ADF357B62}"/>
          </ac:spMkLst>
        </pc:spChg>
      </pc:sldChg>
      <pc:sldChg chg="del">
        <pc:chgData name="TOMIDA, Rei" userId="932807cb-e20e-4938-a276-88bbf4cb8e42" providerId="ADAL" clId="{16342F80-BD85-4B3F-85E3-7312624F4C80}" dt="2024-02-15T10:54:52.906" v="1" actId="47"/>
        <pc:sldMkLst>
          <pc:docMk/>
          <pc:sldMk cId="2868962745" sldId="4024"/>
        </pc:sldMkLst>
      </pc:sldChg>
      <pc:sldChg chg="del">
        <pc:chgData name="TOMIDA, Rei" userId="932807cb-e20e-4938-a276-88bbf4cb8e42" providerId="ADAL" clId="{16342F80-BD85-4B3F-85E3-7312624F4C80}" dt="2024-02-15T10:54:51.767" v="0" actId="47"/>
        <pc:sldMkLst>
          <pc:docMk/>
          <pc:sldMk cId="2790333214" sldId="4025"/>
        </pc:sldMkLst>
      </pc:sldChg>
      <pc:sldChg chg="modSp mod">
        <pc:chgData name="TOMIDA, Rei" userId="932807cb-e20e-4938-a276-88bbf4cb8e42" providerId="ADAL" clId="{16342F80-BD85-4B3F-85E3-7312624F4C80}" dt="2024-02-15T10:58:43.555" v="27"/>
        <pc:sldMkLst>
          <pc:docMk/>
          <pc:sldMk cId="1281323083" sldId="6870"/>
        </pc:sldMkLst>
        <pc:spChg chg="mod">
          <ac:chgData name="TOMIDA, Rei" userId="932807cb-e20e-4938-a276-88bbf4cb8e42" providerId="ADAL" clId="{16342F80-BD85-4B3F-85E3-7312624F4C80}" dt="2024-02-15T10:58:43.555" v="27"/>
          <ac:spMkLst>
            <pc:docMk/>
            <pc:sldMk cId="1281323083" sldId="6870"/>
            <ac:spMk id="9" creationId="{4E2744EF-FA9F-AC1A-A2E7-047E54CD32E1}"/>
          </ac:spMkLst>
        </pc:spChg>
      </pc:sldChg>
      <pc:sldChg chg="modSp mod">
        <pc:chgData name="TOMIDA, Rei" userId="932807cb-e20e-4938-a276-88bbf4cb8e42" providerId="ADAL" clId="{16342F80-BD85-4B3F-85E3-7312624F4C80}" dt="2024-02-15T10:58:48.138" v="31"/>
        <pc:sldMkLst>
          <pc:docMk/>
          <pc:sldMk cId="2392137045" sldId="6872"/>
        </pc:sldMkLst>
        <pc:spChg chg="mod">
          <ac:chgData name="TOMIDA, Rei" userId="932807cb-e20e-4938-a276-88bbf4cb8e42" providerId="ADAL" clId="{16342F80-BD85-4B3F-85E3-7312624F4C80}" dt="2024-02-15T10:58:48.138" v="31"/>
          <ac:spMkLst>
            <pc:docMk/>
            <pc:sldMk cId="2392137045" sldId="6872"/>
            <ac:spMk id="3" creationId="{F9FA749A-F6A4-F779-B7CA-77D41025B81A}"/>
          </ac:spMkLst>
        </pc:spChg>
      </pc:sldChg>
      <pc:sldChg chg="del">
        <pc:chgData name="TOMIDA, Rei" userId="932807cb-e20e-4938-a276-88bbf4cb8e42" providerId="ADAL" clId="{16342F80-BD85-4B3F-85E3-7312624F4C80}" dt="2024-02-15T10:56:18.056" v="6" actId="47"/>
        <pc:sldMkLst>
          <pc:docMk/>
          <pc:sldMk cId="2827633507" sldId="6885"/>
        </pc:sldMkLst>
      </pc:sldChg>
      <pc:sldChg chg="del">
        <pc:chgData name="TOMIDA, Rei" userId="932807cb-e20e-4938-a276-88bbf4cb8e42" providerId="ADAL" clId="{16342F80-BD85-4B3F-85E3-7312624F4C80}" dt="2024-02-15T10:56:22.124" v="7" actId="47"/>
        <pc:sldMkLst>
          <pc:docMk/>
          <pc:sldMk cId="385883344" sldId="6889"/>
        </pc:sldMkLst>
      </pc:sldChg>
      <pc:sldChg chg="addSp delSp modSp mod">
        <pc:chgData name="TOMIDA, Rei" userId="932807cb-e20e-4938-a276-88bbf4cb8e42" providerId="ADAL" clId="{16342F80-BD85-4B3F-85E3-7312624F4C80}" dt="2024-02-15T11:02:11.634" v="43" actId="478"/>
        <pc:sldMkLst>
          <pc:docMk/>
          <pc:sldMk cId="4130498016" sldId="2007579881"/>
        </pc:sldMkLst>
        <pc:picChg chg="add del mod">
          <ac:chgData name="TOMIDA, Rei" userId="932807cb-e20e-4938-a276-88bbf4cb8e42" providerId="ADAL" clId="{16342F80-BD85-4B3F-85E3-7312624F4C80}" dt="2024-02-15T11:02:11.634" v="43" actId="478"/>
          <ac:picMkLst>
            <pc:docMk/>
            <pc:sldMk cId="4130498016" sldId="2007579881"/>
            <ac:picMk id="6" creationId="{F1176EA5-C725-1F45-283A-A90170B80E6F}"/>
          </ac:picMkLst>
        </pc:picChg>
      </pc:sldChg>
      <pc:sldChg chg="modSp mod">
        <pc:chgData name="TOMIDA, Rei" userId="932807cb-e20e-4938-a276-88bbf4cb8e42" providerId="ADAL" clId="{16342F80-BD85-4B3F-85E3-7312624F4C80}" dt="2024-02-15T10:58:28.884" v="15"/>
        <pc:sldMkLst>
          <pc:docMk/>
          <pc:sldMk cId="1835882030" sldId="2007579886"/>
        </pc:sldMkLst>
        <pc:spChg chg="mod">
          <ac:chgData name="TOMIDA, Rei" userId="932807cb-e20e-4938-a276-88bbf4cb8e42" providerId="ADAL" clId="{16342F80-BD85-4B3F-85E3-7312624F4C80}" dt="2024-02-15T10:58:28.884" v="15"/>
          <ac:spMkLst>
            <pc:docMk/>
            <pc:sldMk cId="1835882030" sldId="2007579886"/>
            <ac:spMk id="3" creationId="{B3C87816-C489-6E5E-C7B1-FD9ADF357B62}"/>
          </ac:spMkLst>
        </pc:spChg>
      </pc:sldChg>
      <pc:sldChg chg="modSp mod">
        <pc:chgData name="TOMIDA, Rei" userId="932807cb-e20e-4938-a276-88bbf4cb8e42" providerId="ADAL" clId="{16342F80-BD85-4B3F-85E3-7312624F4C80}" dt="2024-02-15T10:58:33.388" v="19"/>
        <pc:sldMkLst>
          <pc:docMk/>
          <pc:sldMk cId="2065006525" sldId="2007579889"/>
        </pc:sldMkLst>
        <pc:spChg chg="mod">
          <ac:chgData name="TOMIDA, Rei" userId="932807cb-e20e-4938-a276-88bbf4cb8e42" providerId="ADAL" clId="{16342F80-BD85-4B3F-85E3-7312624F4C80}" dt="2024-02-15T10:58:33.388" v="19"/>
          <ac:spMkLst>
            <pc:docMk/>
            <pc:sldMk cId="2065006525" sldId="2007579889"/>
            <ac:spMk id="3" creationId="{B3C87816-C489-6E5E-C7B1-FD9ADF357B62}"/>
          </ac:spMkLst>
        </pc:spChg>
        <pc:spChg chg="mod">
          <ac:chgData name="TOMIDA, Rei" userId="932807cb-e20e-4938-a276-88bbf4cb8e42" providerId="ADAL" clId="{16342F80-BD85-4B3F-85E3-7312624F4C80}" dt="2024-02-15T10:55:54.220" v="5" actId="20577"/>
          <ac:spMkLst>
            <pc:docMk/>
            <pc:sldMk cId="2065006525" sldId="2007579889"/>
            <ac:spMk id="16" creationId="{01AD0DBB-A67F-44CB-3582-869DDEB4A67A}"/>
          </ac:spMkLst>
        </pc:spChg>
      </pc:sldChg>
      <pc:sldChg chg="modSp mod">
        <pc:chgData name="TOMIDA, Rei" userId="932807cb-e20e-4938-a276-88bbf4cb8e42" providerId="ADAL" clId="{16342F80-BD85-4B3F-85E3-7312624F4C80}" dt="2024-02-15T10:58:38.166" v="23"/>
        <pc:sldMkLst>
          <pc:docMk/>
          <pc:sldMk cId="1613103487" sldId="2007579890"/>
        </pc:sldMkLst>
        <pc:spChg chg="mod">
          <ac:chgData name="TOMIDA, Rei" userId="932807cb-e20e-4938-a276-88bbf4cb8e42" providerId="ADAL" clId="{16342F80-BD85-4B3F-85E3-7312624F4C80}" dt="2024-02-15T10:58:38.166" v="23"/>
          <ac:spMkLst>
            <pc:docMk/>
            <pc:sldMk cId="1613103487" sldId="2007579890"/>
            <ac:spMk id="3" creationId="{B3C87816-C489-6E5E-C7B1-FD9ADF357B62}"/>
          </ac:spMkLst>
        </pc:spChg>
      </pc:sldChg>
      <pc:sldMasterChg chg="new del mod addSldLayout delSldLayout">
        <pc:chgData name="TOMIDA, Rei" userId="932807cb-e20e-4938-a276-88bbf4cb8e42" providerId="ADAL" clId="{16342F80-BD85-4B3F-85E3-7312624F4C80}" dt="2024-02-15T10:59:46.602" v="33" actId="6938"/>
        <pc:sldMasterMkLst>
          <pc:docMk/>
          <pc:sldMasterMk cId="1142486936" sldId="2147483961"/>
        </pc:sldMasterMkLst>
        <pc:sldLayoutChg chg="new del replId">
          <pc:chgData name="TOMIDA, Rei" userId="932807cb-e20e-4938-a276-88bbf4cb8e42" providerId="ADAL" clId="{16342F80-BD85-4B3F-85E3-7312624F4C80}" dt="2024-02-15T10:59:46.602" v="33" actId="6938"/>
          <pc:sldLayoutMkLst>
            <pc:docMk/>
            <pc:sldMasterMk cId="1142486936" sldId="2147483961"/>
            <pc:sldLayoutMk cId="3759444503" sldId="2147483962"/>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1731892099" sldId="2147483963"/>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1142027858" sldId="2147483964"/>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3107971043" sldId="2147483965"/>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326347732" sldId="2147483966"/>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2227288946" sldId="2147483967"/>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2214014250" sldId="2147483968"/>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538604272" sldId="2147483969"/>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2472941958" sldId="2147483970"/>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442695878" sldId="2147483971"/>
          </pc:sldLayoutMkLst>
        </pc:sldLayoutChg>
        <pc:sldLayoutChg chg="new del replId">
          <pc:chgData name="TOMIDA, Rei" userId="932807cb-e20e-4938-a276-88bbf4cb8e42" providerId="ADAL" clId="{16342F80-BD85-4B3F-85E3-7312624F4C80}" dt="2024-02-15T10:59:46.602" v="33" actId="6938"/>
          <pc:sldLayoutMkLst>
            <pc:docMk/>
            <pc:sldMasterMk cId="1142486936" sldId="2147483961"/>
            <pc:sldLayoutMk cId="2093665781" sldId="2147483972"/>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4434998" cy="356848"/>
          </a:xfrm>
          <a:prstGeom prst="rect">
            <a:avLst/>
          </a:prstGeom>
        </p:spPr>
        <p:txBody>
          <a:bodyPr vert="horz" lIns="83213" tIns="41607" rIns="83213" bIns="41607" rtlCol="0"/>
          <a:lstStyle>
            <a:lvl1pPr algn="l">
              <a:defRPr sz="1100"/>
            </a:lvl1pPr>
          </a:lstStyle>
          <a:p>
            <a:endParaRPr kumimoji="1" lang="ja-JP" altLang="en-US"/>
          </a:p>
        </p:txBody>
      </p:sp>
      <p:sp>
        <p:nvSpPr>
          <p:cNvPr id="3" name="日付プレースホルダー 2"/>
          <p:cNvSpPr>
            <a:spLocks noGrp="1"/>
          </p:cNvSpPr>
          <p:nvPr>
            <p:ph type="dt" idx="1"/>
          </p:nvPr>
        </p:nvSpPr>
        <p:spPr>
          <a:xfrm>
            <a:off x="5796949" y="0"/>
            <a:ext cx="4434998" cy="356848"/>
          </a:xfrm>
          <a:prstGeom prst="rect">
            <a:avLst/>
          </a:prstGeom>
        </p:spPr>
        <p:txBody>
          <a:bodyPr vert="horz" lIns="83213" tIns="41607" rIns="83213" bIns="41607" rtlCol="0"/>
          <a:lstStyle>
            <a:lvl1pPr algn="r">
              <a:defRPr sz="1100"/>
            </a:lvl1pPr>
          </a:lstStyle>
          <a:p>
            <a:fld id="{BFDB265E-3B09-0647-AFB6-7FAE21221BE4}" type="datetimeFigureOut">
              <a:rPr kumimoji="1" lang="ja-JP" altLang="en-US" smtClean="0"/>
              <a:t>2024/2/15</a:t>
            </a:fld>
            <a:endParaRPr kumimoji="1" lang="ja-JP" altLang="en-US"/>
          </a:p>
        </p:txBody>
      </p:sp>
      <p:sp>
        <p:nvSpPr>
          <p:cNvPr id="4" name="スライド イメージ プレースホルダー 3"/>
          <p:cNvSpPr>
            <a:spLocks noGrp="1" noRot="1" noChangeAspect="1"/>
          </p:cNvSpPr>
          <p:nvPr>
            <p:ph type="sldImg" idx="2"/>
          </p:nvPr>
        </p:nvSpPr>
        <p:spPr>
          <a:xfrm>
            <a:off x="2987675" y="887413"/>
            <a:ext cx="4259263" cy="2397125"/>
          </a:xfrm>
          <a:prstGeom prst="rect">
            <a:avLst/>
          </a:prstGeom>
          <a:noFill/>
          <a:ln w="12700">
            <a:solidFill>
              <a:prstClr val="black"/>
            </a:solidFill>
          </a:ln>
        </p:spPr>
        <p:txBody>
          <a:bodyPr vert="horz" lIns="83213" tIns="41607" rIns="83213" bIns="41607" rtlCol="0" anchor="ctr"/>
          <a:lstStyle/>
          <a:p>
            <a:endParaRPr lang="ja-JP" altLang="en-US"/>
          </a:p>
        </p:txBody>
      </p:sp>
      <p:sp>
        <p:nvSpPr>
          <p:cNvPr id="5" name="ノート プレースホルダー 4"/>
          <p:cNvSpPr>
            <a:spLocks noGrp="1"/>
          </p:cNvSpPr>
          <p:nvPr>
            <p:ph type="body" sz="quarter" idx="3"/>
          </p:nvPr>
        </p:nvSpPr>
        <p:spPr>
          <a:xfrm>
            <a:off x="1023462" y="3418832"/>
            <a:ext cx="8187690" cy="2797225"/>
          </a:xfrm>
          <a:prstGeom prst="rect">
            <a:avLst/>
          </a:prstGeom>
        </p:spPr>
        <p:txBody>
          <a:bodyPr vert="horz" lIns="83213" tIns="41607" rIns="83213" bIns="4160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6747217"/>
            <a:ext cx="4434998" cy="356847"/>
          </a:xfrm>
          <a:prstGeom prst="rect">
            <a:avLst/>
          </a:prstGeom>
        </p:spPr>
        <p:txBody>
          <a:bodyPr vert="horz" lIns="83213" tIns="41607" rIns="83213" bIns="41607"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5796949" y="6747217"/>
            <a:ext cx="4434998" cy="356847"/>
          </a:xfrm>
          <a:prstGeom prst="rect">
            <a:avLst/>
          </a:prstGeom>
        </p:spPr>
        <p:txBody>
          <a:bodyPr vert="horz" lIns="83213" tIns="41607" rIns="83213" bIns="41607" rtlCol="0" anchor="b"/>
          <a:lstStyle>
            <a:lvl1pPr algn="r">
              <a:defRPr sz="1100"/>
            </a:lvl1pPr>
          </a:lstStyle>
          <a:p>
            <a:fld id="{46972003-E179-5242-B859-48D964B99D31}" type="slidenum">
              <a:rPr kumimoji="1" lang="ja-JP" altLang="en-US" smtClean="0"/>
              <a:t>‹#›</a:t>
            </a:fld>
            <a:endParaRPr kumimoji="1" lang="ja-JP" altLang="en-US"/>
          </a:p>
        </p:txBody>
      </p:sp>
    </p:spTree>
    <p:extLst>
      <p:ext uri="{BB962C8B-B14F-4D97-AF65-F5344CB8AC3E}">
        <p14:creationId xmlns:p14="http://schemas.microsoft.com/office/powerpoint/2010/main" val="1545264854"/>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erry-sunflower.co.jp/"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www.sunflower.co.jp/route/facilities/timetable/" TargetMode="External"/><Relationship Id="rId4" Type="http://schemas.openxmlformats.org/officeDocument/2006/relationships/hyperlink" Target="https://www.sunflower.co.jp/"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ferry-sunflower.co.jp/" TargetMode="External"/><Relationship Id="rId2" Type="http://schemas.openxmlformats.org/officeDocument/2006/relationships/slide" Target="../slides/slide4.xml"/><Relationship Id="rId1" Type="http://schemas.openxmlformats.org/officeDocument/2006/relationships/notesMaster" Target="../notesMasters/notesMaster1.xml"/><Relationship Id="rId5" Type="http://schemas.openxmlformats.org/officeDocument/2006/relationships/hyperlink" Target="https://www.sunflower.co.jp/route/facilities/timetable/" TargetMode="External"/><Relationship Id="rId4" Type="http://schemas.openxmlformats.org/officeDocument/2006/relationships/hyperlink" Target="https://www.sunflower.co.jp/"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4233170">
              <a:defRPr/>
            </a:pPr>
            <a:r>
              <a:rPr lang="en-US" altLang="ja-JP" sz="5600" b="1"/>
              <a:t>【</a:t>
            </a:r>
            <a:r>
              <a:rPr lang="ja-JP" altLang="en-US" sz="5600" b="1"/>
              <a:t>顧客へのアピール</a:t>
            </a:r>
            <a:r>
              <a:rPr lang="en-US" altLang="ja-JP" sz="5600" b="1"/>
              <a:t>】</a:t>
            </a:r>
            <a:br>
              <a:rPr lang="en-US" altLang="ja-JP" sz="5600"/>
            </a:br>
            <a:r>
              <a:rPr lang="ja-JP" altLang="en-US" sz="5600" u="sng"/>
              <a:t>太平洋側の内航ネットワーク</a:t>
            </a:r>
            <a:endParaRPr lang="en-US" altLang="ja-JP" sz="5600" u="sng"/>
          </a:p>
          <a:p>
            <a:pPr defTabSz="4233170">
              <a:defRPr/>
            </a:pPr>
            <a:r>
              <a:rPr lang="ja-JP" altLang="en-US" sz="5600">
                <a:latin typeface="Arial"/>
                <a:ea typeface="ＭＳ Ｐ明朝"/>
                <a:cs typeface="Arial"/>
              </a:rPr>
              <a:t>充実の航路数（全</a:t>
            </a:r>
            <a:r>
              <a:rPr lang="en-US" altLang="ja-JP" sz="5600">
                <a:latin typeface="Arial"/>
                <a:ea typeface="ＭＳ Ｐ明朝"/>
                <a:cs typeface="Arial"/>
              </a:rPr>
              <a:t>6</a:t>
            </a:r>
            <a:r>
              <a:rPr lang="ja-JP" altLang="en-US" sz="5600">
                <a:latin typeface="Arial"/>
                <a:ea typeface="ＭＳ Ｐ明朝"/>
                <a:cs typeface="Arial"/>
              </a:rPr>
              <a:t>航路）。</a:t>
            </a:r>
            <a:r>
              <a:rPr lang="en-US" altLang="ja-JP" sz="5600">
                <a:latin typeface="Arial"/>
                <a:ea typeface="ＭＳ Ｐ明朝"/>
                <a:cs typeface="Arial"/>
              </a:rPr>
              <a:t>300km</a:t>
            </a:r>
            <a:r>
              <a:rPr lang="ja-JP" altLang="en-US" sz="5600">
                <a:latin typeface="Arial"/>
                <a:ea typeface="ＭＳ Ｐ明朝"/>
                <a:cs typeface="Arial"/>
              </a:rPr>
              <a:t>以上の距離を運航するフェリーとしては、貨物輸送シェア3</a:t>
            </a:r>
            <a:r>
              <a:rPr lang="en-US" altLang="ja-JP" sz="5600">
                <a:latin typeface="Arial"/>
                <a:ea typeface="ＭＳ Ｐ明朝"/>
                <a:cs typeface="Arial"/>
              </a:rPr>
              <a:t>0%</a:t>
            </a:r>
            <a:r>
              <a:rPr lang="ja-JP" altLang="en-US" sz="5600">
                <a:latin typeface="Arial"/>
                <a:ea typeface="ＭＳ Ｐ明朝"/>
                <a:cs typeface="Arial"/>
              </a:rPr>
              <a:t>を獲得。</a:t>
            </a:r>
            <a:endParaRPr lang="en-US" altLang="ja-JP" sz="5600">
              <a:latin typeface="Arial"/>
              <a:ea typeface="ＭＳ Ｐ明朝"/>
              <a:cs typeface="Arial"/>
            </a:endParaRPr>
          </a:p>
          <a:p>
            <a:pPr defTabSz="4233170">
              <a:defRPr/>
            </a:pPr>
            <a:endParaRPr lang="en-US" altLang="ja-JP" sz="5600"/>
          </a:p>
          <a:p>
            <a:pPr defTabSz="4233170">
              <a:defRPr/>
            </a:pPr>
            <a:r>
              <a:rPr lang="ja-JP" altLang="en-US" sz="5600"/>
              <a:t>①フェリーさんふらわあ：</a:t>
            </a:r>
            <a:r>
              <a:rPr lang="en-US" altLang="ja-JP" sz="5600"/>
              <a:t>3</a:t>
            </a:r>
            <a:r>
              <a:rPr lang="ja-JP" altLang="en-US" sz="5600"/>
              <a:t>航路</a:t>
            </a:r>
            <a:endParaRPr lang="en-US" altLang="ja-JP" sz="5600"/>
          </a:p>
          <a:p>
            <a:pPr defTabSz="4233170">
              <a:defRPr/>
            </a:pPr>
            <a:r>
              <a:rPr lang="ja-JP" altLang="en-US" sz="5600"/>
              <a:t>神戸⇔大分航路 </a:t>
            </a:r>
            <a:r>
              <a:rPr lang="en-US" altLang="ja-JP" sz="5600"/>
              <a:t>/ </a:t>
            </a:r>
            <a:r>
              <a:rPr lang="ja-JP" altLang="en-US" sz="5600"/>
              <a:t>夜出発、朝到着</a:t>
            </a:r>
            <a:endParaRPr lang="en-US" altLang="ja-JP" sz="5600"/>
          </a:p>
          <a:p>
            <a:pPr defTabSz="4233170">
              <a:defRPr/>
            </a:pPr>
            <a:r>
              <a:rPr lang="ja-JP" altLang="en-US" sz="5600"/>
              <a:t>大阪⇔別府航路 </a:t>
            </a:r>
            <a:r>
              <a:rPr lang="en-US" altLang="ja-JP" sz="5600"/>
              <a:t>/</a:t>
            </a:r>
            <a:r>
              <a:rPr lang="ja-JP" altLang="en-US" sz="5600"/>
              <a:t>夜出発、朝到着</a:t>
            </a:r>
            <a:endParaRPr lang="en-US" altLang="ja-JP" sz="5600"/>
          </a:p>
          <a:p>
            <a:pPr defTabSz="4233170">
              <a:defRPr/>
            </a:pPr>
            <a:r>
              <a:rPr lang="ja-JP" altLang="en-US" sz="5600"/>
              <a:t>大阪⇔志布志航路 </a:t>
            </a:r>
            <a:r>
              <a:rPr lang="en-US" altLang="ja-JP" sz="5600"/>
              <a:t>/</a:t>
            </a:r>
            <a:r>
              <a:rPr lang="ja-JP" altLang="en-US" sz="5600"/>
              <a:t>夕方出発、朝到着　</a:t>
            </a:r>
            <a:r>
              <a:rPr lang="en-US" altLang="ja-JP" sz="5600"/>
              <a:t>※</a:t>
            </a:r>
            <a:r>
              <a:rPr lang="ja-JP" altLang="en-US" sz="5600"/>
              <a:t>鹿児島行きはフェリーさんふらわあのみ</a:t>
            </a:r>
            <a:endParaRPr lang="en-US" altLang="ja-JP" sz="5600"/>
          </a:p>
          <a:p>
            <a:pPr defTabSz="4233170">
              <a:defRPr/>
            </a:pPr>
            <a:endParaRPr lang="en-US" altLang="ja-JP" sz="5600"/>
          </a:p>
          <a:p>
            <a:pPr defTabSz="4233170">
              <a:defRPr/>
            </a:pPr>
            <a:r>
              <a:rPr lang="ja-JP" altLang="en-US" sz="5600"/>
              <a:t>②商船三井フェリー：</a:t>
            </a:r>
            <a:r>
              <a:rPr lang="en-US" altLang="ja-JP" sz="5600"/>
              <a:t>3</a:t>
            </a:r>
            <a:r>
              <a:rPr lang="ja-JP" altLang="en-US" sz="5600"/>
              <a:t>航路</a:t>
            </a:r>
            <a:endParaRPr lang="en-US" altLang="ja-JP" sz="5600"/>
          </a:p>
          <a:p>
            <a:pPr defTabSz="4233170">
              <a:defRPr/>
            </a:pPr>
            <a:r>
              <a:rPr lang="ja-JP" altLang="en-US" sz="5600"/>
              <a:t>大洗⇔苫小牧航路 </a:t>
            </a:r>
            <a:r>
              <a:rPr lang="en-US" altLang="ja-JP" sz="5600"/>
              <a:t>/ </a:t>
            </a:r>
            <a:r>
              <a:rPr lang="ja-JP" altLang="en-US" sz="5600"/>
              <a:t>夕方便：夜出発、翌日昼過ぎ到着</a:t>
            </a:r>
            <a:endParaRPr lang="en-US" altLang="ja-JP" sz="5600"/>
          </a:p>
          <a:p>
            <a:pPr defTabSz="4233170">
              <a:defRPr/>
            </a:pPr>
            <a:r>
              <a:rPr lang="ja-JP" altLang="en-US" sz="5600"/>
              <a:t>　　　　　　　　　　　　　　深夜便：深夜出発、同日夜到着</a:t>
            </a:r>
            <a:endParaRPr lang="en-US" altLang="ja-JP" sz="5600"/>
          </a:p>
          <a:p>
            <a:pPr defTabSz="4233170">
              <a:defRPr/>
            </a:pPr>
            <a:r>
              <a:rPr lang="ja-JP" altLang="en-US" sz="5600"/>
              <a:t>苅田航路</a:t>
            </a:r>
            <a:endParaRPr lang="en-US" altLang="ja-JP" sz="5600"/>
          </a:p>
          <a:p>
            <a:pPr defTabSz="4233170">
              <a:defRPr/>
            </a:pPr>
            <a:r>
              <a:rPr lang="ja-JP" altLang="en-US" sz="5600"/>
              <a:t>東京～苅田 </a:t>
            </a:r>
            <a:r>
              <a:rPr lang="en-US" altLang="ja-JP" sz="5600"/>
              <a:t>/ </a:t>
            </a:r>
            <a:r>
              <a:rPr lang="ja-JP" altLang="en-US" sz="5600"/>
              <a:t>夜出発、翌日夜到着</a:t>
            </a:r>
            <a:endParaRPr lang="en-US" altLang="ja-JP" sz="5600"/>
          </a:p>
          <a:p>
            <a:pPr defTabSz="4233170">
              <a:defRPr/>
            </a:pPr>
            <a:r>
              <a:rPr lang="ja-JP" altLang="en-US" sz="5600"/>
              <a:t>苅田～東京 </a:t>
            </a:r>
            <a:r>
              <a:rPr lang="en-US" altLang="ja-JP" sz="5600"/>
              <a:t>/ </a:t>
            </a:r>
            <a:r>
              <a:rPr lang="ja-JP" altLang="en-US" sz="5600"/>
              <a:t>早朝出発、翌日朝到着（上りの土曜日のみ、出発日昼過ぎに宇野に寄港）</a:t>
            </a:r>
            <a:endParaRPr lang="en-US" altLang="ja-JP" sz="5600"/>
          </a:p>
          <a:p>
            <a:pPr defTabSz="4233170">
              <a:defRPr/>
            </a:pPr>
            <a:endParaRPr lang="en-US" altLang="ja-JP" sz="5600"/>
          </a:p>
          <a:p>
            <a:pPr defTabSz="4233170">
              <a:defRPr/>
            </a:pPr>
            <a:r>
              <a:rPr lang="ja-JP" altLang="en-US" sz="5600"/>
              <a:t>博多航路</a:t>
            </a:r>
            <a:endParaRPr lang="en-US" altLang="ja-JP" sz="5600"/>
          </a:p>
          <a:p>
            <a:pPr defTabSz="4233170">
              <a:defRPr/>
            </a:pPr>
            <a:r>
              <a:rPr lang="ja-JP" altLang="en-US" sz="5600"/>
              <a:t>東京～御前崎～博多 </a:t>
            </a:r>
            <a:r>
              <a:rPr lang="en-US" altLang="ja-JP" sz="5600"/>
              <a:t>/</a:t>
            </a:r>
            <a:r>
              <a:rPr lang="ja-JP" altLang="en-US" sz="5600"/>
              <a:t>　東京夜出発、御前崎翌朝到着、博多翌朝到着（東京出発日＋</a:t>
            </a:r>
            <a:r>
              <a:rPr lang="en-US" altLang="ja-JP" sz="5600"/>
              <a:t>2</a:t>
            </a:r>
            <a:r>
              <a:rPr lang="ja-JP" altLang="en-US" sz="5600"/>
              <a:t>日）</a:t>
            </a:r>
            <a:endParaRPr lang="en-US" altLang="ja-JP" sz="5600"/>
          </a:p>
          <a:p>
            <a:pPr defTabSz="4233170">
              <a:defRPr/>
            </a:pPr>
            <a:r>
              <a:rPr lang="ja-JP" altLang="en-US" sz="5600"/>
              <a:t>博多～大分～岩国～東京 </a:t>
            </a:r>
            <a:r>
              <a:rPr lang="en-US" altLang="ja-JP" sz="5600"/>
              <a:t>/ </a:t>
            </a:r>
            <a:r>
              <a:rPr lang="ja-JP" altLang="en-US" sz="5600"/>
              <a:t>博多夕方出発、大分もしくは岩国に翌深夜到着、東京翌朝到着（博多出発日＋</a:t>
            </a:r>
            <a:r>
              <a:rPr lang="en-US" altLang="ja-JP" sz="5600"/>
              <a:t>2</a:t>
            </a:r>
            <a:r>
              <a:rPr lang="ja-JP" altLang="en-US" sz="5600"/>
              <a:t>日）</a:t>
            </a:r>
            <a:endParaRPr lang="en-US" altLang="ja-JP" sz="5600"/>
          </a:p>
          <a:p>
            <a:pPr defTabSz="4233170">
              <a:defRPr/>
            </a:pPr>
            <a:r>
              <a:rPr lang="en-US" altLang="ja-JP" sz="5600"/>
              <a:t> </a:t>
            </a:r>
          </a:p>
          <a:p>
            <a:pPr defTabSz="4233170">
              <a:defRPr/>
            </a:pPr>
            <a:r>
              <a:rPr lang="en-US" altLang="ja-JP" sz="5600" u="sng"/>
              <a:t>BCP</a:t>
            </a:r>
            <a:r>
              <a:rPr lang="ja-JP" altLang="en-US" sz="5600" u="sng"/>
              <a:t>対応について（フェリーの強み）</a:t>
            </a:r>
            <a:endParaRPr lang="en-US" altLang="ja-JP" sz="5600" u="sng"/>
          </a:p>
          <a:p>
            <a:pPr defTabSz="4233170">
              <a:defRPr/>
            </a:pPr>
            <a:r>
              <a:rPr lang="ja-JP" altLang="en-US" sz="5600"/>
              <a:t>災害時に道路網が遮断された際も、港があれば（寄港地であれば）フェリーを用いた物流支援が可能。</a:t>
            </a:r>
            <a:endParaRPr lang="en-US" altLang="ja-JP" sz="5600"/>
          </a:p>
          <a:p>
            <a:pPr defTabSz="4233170">
              <a:defRPr/>
            </a:pPr>
            <a:r>
              <a:rPr lang="ja-JP" altLang="en-US" sz="5600"/>
              <a:t>しかし、有事の際にスペースが避けるかどうかは、平常時の船積み実績によることもある。</a:t>
            </a:r>
            <a:endParaRPr lang="en-US" altLang="ja-JP" sz="5600"/>
          </a:p>
          <a:p>
            <a:pPr defTabSz="4233170">
              <a:defRPr/>
            </a:pPr>
            <a:r>
              <a:rPr lang="en-US" altLang="ja-JP" sz="5600"/>
              <a:t>BCP</a:t>
            </a:r>
            <a:r>
              <a:rPr lang="ja-JP" altLang="en-US" sz="5600"/>
              <a:t>対応という意味で、普段からフェリーを使った物流も是非検討してほしい。</a:t>
            </a:r>
            <a:endParaRPr lang="en-US" altLang="ja-JP" sz="5600"/>
          </a:p>
          <a:p>
            <a:pPr defTabSz="4233170">
              <a:defRPr/>
            </a:pPr>
            <a:endParaRPr lang="en-US" altLang="ja-JP" sz="5600" u="sng"/>
          </a:p>
          <a:p>
            <a:pPr defTabSz="4233170">
              <a:defRPr/>
            </a:pPr>
            <a:r>
              <a:rPr lang="en-US" altLang="ja-JP" sz="5600" u="sng"/>
              <a:t>(</a:t>
            </a:r>
            <a:r>
              <a:rPr lang="ja-JP" altLang="en-US" sz="5600" u="sng"/>
              <a:t>参考</a:t>
            </a:r>
            <a:r>
              <a:rPr lang="en-US" altLang="ja-JP" sz="5600" u="sng"/>
              <a:t>) </a:t>
            </a:r>
            <a:r>
              <a:rPr lang="ja-JP" altLang="en-US" sz="5600" u="sng"/>
              <a:t>トラックドライバー関連問題への対応</a:t>
            </a:r>
            <a:endParaRPr lang="en-US" altLang="ja-JP" sz="5600" u="sng"/>
          </a:p>
          <a:p>
            <a:pPr defTabSz="4233170">
              <a:defRPr/>
            </a:pPr>
            <a:r>
              <a:rPr lang="en-US" altLang="ja-JP" sz="5600">
                <a:latin typeface="Arial"/>
                <a:ea typeface="ＭＳ Ｐ明朝"/>
                <a:cs typeface="Arial"/>
              </a:rPr>
              <a:t>-  </a:t>
            </a:r>
            <a:r>
              <a:rPr lang="ja-JP" altLang="en-US"/>
              <a:t>長距離走行の回避によるドライバーの疲労軽減と事故削減</a:t>
            </a:r>
            <a:endParaRPr lang="en-US" altLang="ja-JP" sz="5600"/>
          </a:p>
          <a:p>
            <a:pPr defTabSz="4233170">
              <a:defRPr/>
            </a:pPr>
            <a:r>
              <a:rPr lang="ja-JP">
                <a:latin typeface="Arial"/>
                <a:ea typeface="ＭＳ Ｐ明朝"/>
                <a:cs typeface="Arial"/>
              </a:rPr>
              <a:t>-</a:t>
            </a:r>
            <a:r>
              <a:rPr lang="ja-JP" altLang="en-US">
                <a:latin typeface="Arial"/>
                <a:ea typeface="ＭＳ Ｐ明朝"/>
                <a:cs typeface="Arial"/>
              </a:rPr>
              <a:t>  </a:t>
            </a:r>
            <a:r>
              <a:rPr kumimoji="1" lang="ja-JP" u="none">
                <a:latin typeface="Arial"/>
                <a:ea typeface="ＭＳ Ｐ明朝"/>
                <a:cs typeface="Arial"/>
              </a:rPr>
              <a:t>労</a:t>
            </a:r>
            <a:r>
              <a:rPr lang="ja-JP">
                <a:latin typeface="Arial"/>
                <a:ea typeface="ＭＳ Ｐ明朝"/>
                <a:cs typeface="Arial"/>
              </a:rPr>
              <a:t>基法</a:t>
            </a:r>
            <a:r>
              <a:rPr kumimoji="1" lang="ja-JP" u="none">
                <a:latin typeface="Arial"/>
                <a:ea typeface="ＭＳ Ｐ明朝"/>
                <a:cs typeface="Arial"/>
              </a:rPr>
              <a:t>改</a:t>
            </a:r>
            <a:r>
              <a:rPr lang="ja-JP">
                <a:latin typeface="Arial"/>
                <a:ea typeface="ＭＳ Ｐ明朝"/>
                <a:cs typeface="Arial"/>
              </a:rPr>
              <a:t>正（拘束時間や連続運転時間の短縮化）</a:t>
            </a:r>
            <a:r>
              <a:rPr kumimoji="1" lang="ja-JP" u="none">
                <a:latin typeface="Arial"/>
                <a:ea typeface="ＭＳ Ｐ明朝"/>
                <a:cs typeface="Arial"/>
              </a:rPr>
              <a:t>に</a:t>
            </a:r>
            <a:r>
              <a:rPr lang="ja-JP">
                <a:latin typeface="Arial"/>
                <a:ea typeface="ＭＳ Ｐ明朝"/>
                <a:cs typeface="Arial"/>
              </a:rPr>
              <a:t>伴うトラック</a:t>
            </a:r>
            <a:r>
              <a:rPr kumimoji="1" lang="ja-JP" u="none">
                <a:latin typeface="Arial"/>
                <a:ea typeface="ＭＳ Ｐ明朝"/>
                <a:cs typeface="Arial"/>
              </a:rPr>
              <a:t>ドライバー不足問題の解消（に繋がる）</a:t>
            </a:r>
            <a:endParaRPr lang="en-US">
              <a:latin typeface="Arial"/>
              <a:ea typeface="ＭＳ Ｐ明朝"/>
              <a:cs typeface="Arial"/>
            </a:endParaRPr>
          </a:p>
          <a:p>
            <a:pPr defTabSz="4233170">
              <a:defRPr/>
            </a:pPr>
            <a:endParaRPr lang="en-US" altLang="ja-JP" sz="5600">
              <a:cs typeface="Arial"/>
            </a:endParaRPr>
          </a:p>
          <a:p>
            <a:r>
              <a:rPr lang="en-US" altLang="ja-JP" sz="5600" b="1"/>
              <a:t>【</a:t>
            </a:r>
            <a:r>
              <a:rPr lang="ja-JP" altLang="en-US" sz="5600" b="1"/>
              <a:t>参考</a:t>
            </a:r>
            <a:r>
              <a:rPr lang="en-US" altLang="ja-JP" sz="5600" b="1"/>
              <a:t>】</a:t>
            </a:r>
          </a:p>
          <a:p>
            <a:r>
              <a:rPr lang="ja-JP" altLang="en-US" sz="5600"/>
              <a:t>・会社</a:t>
            </a:r>
            <a:r>
              <a:rPr lang="en-US" altLang="ja-JP" sz="5600"/>
              <a:t>HP</a:t>
            </a:r>
            <a:r>
              <a:rPr lang="ja-JP" altLang="en-US" sz="5600"/>
              <a:t>　</a:t>
            </a:r>
            <a:r>
              <a:rPr lang="en-US" altLang="ja-JP" sz="5600"/>
              <a:t>		</a:t>
            </a:r>
            <a:r>
              <a:rPr lang="ja-JP" altLang="en-US" sz="5600"/>
              <a:t>：㈱フェリーさんふらわあ　</a:t>
            </a:r>
            <a:r>
              <a:rPr lang="en-US" altLang="ja-JP" sz="5600"/>
              <a:t>(</a:t>
            </a:r>
            <a:r>
              <a:rPr lang="en-US" altLang="ja-JP" sz="5600">
                <a:hlinkClick r:id="rId3"/>
              </a:rPr>
              <a:t>https://www.ferry-sunflower.co.jp/</a:t>
            </a:r>
            <a:r>
              <a:rPr lang="en-US" altLang="ja-JP" sz="5600"/>
              <a:t>)</a:t>
            </a:r>
          </a:p>
          <a:p>
            <a:r>
              <a:rPr lang="ja-JP" altLang="en-US" sz="5600"/>
              <a:t>　　　　　　　　</a:t>
            </a:r>
            <a:r>
              <a:rPr lang="en-US" altLang="ja-JP" sz="5600"/>
              <a:t>		</a:t>
            </a:r>
            <a:r>
              <a:rPr lang="ja-JP" altLang="en-US" sz="5600"/>
              <a:t>　　商船三井フェリー㈱ </a:t>
            </a:r>
            <a:r>
              <a:rPr lang="en-US" altLang="ja-JP" sz="5600"/>
              <a:t>(</a:t>
            </a:r>
            <a:r>
              <a:rPr lang="en-US" altLang="ja-JP" sz="5600">
                <a:hlinkClick r:id="rId4"/>
              </a:rPr>
              <a:t>https://www.sunflower.co.jp/</a:t>
            </a:r>
            <a:r>
              <a:rPr lang="en-US" altLang="ja-JP" sz="5600"/>
              <a:t>)</a:t>
            </a:r>
          </a:p>
          <a:p>
            <a:r>
              <a:rPr lang="ja-JP" altLang="en-US" sz="5600"/>
              <a:t>・航路情報</a:t>
            </a:r>
            <a:r>
              <a:rPr lang="en-US" altLang="ja-JP" sz="5600"/>
              <a:t>		</a:t>
            </a:r>
            <a:r>
              <a:rPr lang="ja-JP" altLang="en-US" sz="5600"/>
              <a:t>：関西⇔九州　（</a:t>
            </a:r>
            <a:r>
              <a:rPr lang="en-US" altLang="ja-JP" sz="5600">
                <a:hlinkClick r:id="rId3"/>
              </a:rPr>
              <a:t>https://www.ferry-sunflower.co.jp/</a:t>
            </a:r>
            <a:r>
              <a:rPr lang="en-US" altLang="ja-JP" sz="5600"/>
              <a:t>)</a:t>
            </a:r>
            <a:r>
              <a:rPr lang="ja-JP" altLang="en-US" sz="5600"/>
              <a:t>→「航路・時刻表・運賃」へ</a:t>
            </a:r>
            <a:endParaRPr lang="en-US" altLang="ja-JP" sz="5600"/>
          </a:p>
          <a:p>
            <a:r>
              <a:rPr lang="ja-JP" altLang="en-US" sz="5600"/>
              <a:t>　　　　　　</a:t>
            </a:r>
            <a:r>
              <a:rPr lang="en-US" altLang="ja-JP" sz="5600"/>
              <a:t>		</a:t>
            </a:r>
            <a:r>
              <a:rPr lang="ja-JP" altLang="en-US" sz="5600"/>
              <a:t>　　関東⇔九州・北海道（</a:t>
            </a:r>
            <a:r>
              <a:rPr lang="en-US" altLang="ja-JP" sz="5600">
                <a:hlinkClick r:id="rId5"/>
              </a:rPr>
              <a:t>https://www.sunflower.co.jp/route/facilities/timetable/</a:t>
            </a:r>
            <a:r>
              <a:rPr lang="ja-JP" altLang="en-US" sz="5600"/>
              <a:t>）</a:t>
            </a:r>
            <a:endParaRPr lang="en-US" altLang="ja-JP" sz="5600"/>
          </a:p>
          <a:p>
            <a:pPr defTabSz="1429024">
              <a:defRPr/>
            </a:pPr>
            <a:r>
              <a:rPr lang="ja-JP" altLang="en-US" sz="5600"/>
              <a:t>・</a:t>
            </a:r>
            <a:r>
              <a:rPr lang="en-US" altLang="ja-JP" sz="5600"/>
              <a:t>MOL</a:t>
            </a:r>
            <a:r>
              <a:rPr lang="ja-JP" altLang="en-US" sz="5600"/>
              <a:t>管理担当部</a:t>
            </a:r>
            <a:r>
              <a:rPr lang="en-US" altLang="ja-JP" sz="5600"/>
              <a:t>	</a:t>
            </a:r>
            <a:r>
              <a:rPr lang="ja-JP" altLang="en-US" sz="5600"/>
              <a:t>：フェリー・関連事業部　フェリー統括チーム</a:t>
            </a:r>
            <a:endParaRPr lang="en-US" altLang="ja-JP" sz="5600"/>
          </a:p>
        </p:txBody>
      </p:sp>
      <p:sp>
        <p:nvSpPr>
          <p:cNvPr id="4" name="スライド番号プレースホルダー 3"/>
          <p:cNvSpPr>
            <a:spLocks noGrp="1"/>
          </p:cNvSpPr>
          <p:nvPr>
            <p:ph type="sldNum" sz="quarter" idx="5"/>
          </p:nvPr>
        </p:nvSpPr>
        <p:spPr/>
        <p:txBody>
          <a:bodyPr/>
          <a:lstStyle/>
          <a:p>
            <a:pPr marL="0" marR="0" lvl="0" indent="0" algn="r" defTabSz="2934433" rtl="0" eaLnBrk="1" fontAlgn="base" latinLnBrk="0" hangingPunct="1">
              <a:lnSpc>
                <a:spcPct val="100000"/>
              </a:lnSpc>
              <a:spcBef>
                <a:spcPct val="0"/>
              </a:spcBef>
              <a:spcAft>
                <a:spcPct val="0"/>
              </a:spcAft>
              <a:buClrTx/>
              <a:buSzTx/>
              <a:buFontTx/>
              <a:buNone/>
              <a:tabLst/>
              <a:defRPr/>
            </a:pPr>
            <a:fld id="{814ACBF0-1D8A-4116-8E18-E6A26ACDBD13}" type="slidenum">
              <a:rPr kumimoji="1" lang="en-US" altLang="ja-JP" sz="3900" b="0" i="0" u="none" strike="noStrike" kern="1200" cap="none" spc="0" normalizeH="0" baseline="0" noProof="0" smtClean="0">
                <a:ln>
                  <a:noFill/>
                </a:ln>
                <a:solidFill>
                  <a:srgbClr val="000000"/>
                </a:solidFill>
                <a:effectLst/>
                <a:uLnTx/>
                <a:uFillTx/>
                <a:latin typeface="Arial" charset="0"/>
                <a:ea typeface="ＭＳ Ｐゴシック" pitchFamily="50" charset="-128"/>
              </a:rPr>
              <a:pPr marL="0" marR="0" lvl="0" indent="0" algn="r" defTabSz="2934433" rtl="0" eaLnBrk="1" fontAlgn="base" latinLnBrk="0" hangingPunct="1">
                <a:lnSpc>
                  <a:spcPct val="100000"/>
                </a:lnSpc>
                <a:spcBef>
                  <a:spcPct val="0"/>
                </a:spcBef>
                <a:spcAft>
                  <a:spcPct val="0"/>
                </a:spcAft>
                <a:buClrTx/>
                <a:buSzTx/>
                <a:buFontTx/>
                <a:buNone/>
                <a:tabLst/>
                <a:defRPr/>
              </a:pPr>
              <a:t>3</a:t>
            </a:fld>
            <a:endParaRPr kumimoji="1" lang="en-US" altLang="ja-JP" sz="3900" b="0" i="0" u="none" strike="noStrike" kern="1200" cap="none" spc="0" normalizeH="0" baseline="0" noProof="0">
              <a:ln>
                <a:noFill/>
              </a:ln>
              <a:solidFill>
                <a:srgbClr val="000000"/>
              </a:solidFill>
              <a:effectLst/>
              <a:uLnTx/>
              <a:uFillTx/>
              <a:latin typeface="Arial" charset="0"/>
              <a:ea typeface="ＭＳ Ｐゴシック" pitchFamily="50" charset="-128"/>
            </a:endParaRPr>
          </a:p>
        </p:txBody>
      </p:sp>
    </p:spTree>
    <p:extLst>
      <p:ext uri="{BB962C8B-B14F-4D97-AF65-F5344CB8AC3E}">
        <p14:creationId xmlns:p14="http://schemas.microsoft.com/office/powerpoint/2010/main" val="763850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4233170">
              <a:defRPr/>
            </a:pPr>
            <a:r>
              <a:rPr lang="en-US" altLang="ja-JP" sz="5600" b="1"/>
              <a:t>【</a:t>
            </a:r>
            <a:r>
              <a:rPr lang="ja-JP" altLang="en-US" sz="5600" b="1"/>
              <a:t>顧客へのアピール</a:t>
            </a:r>
            <a:r>
              <a:rPr lang="en-US" altLang="ja-JP" sz="5600" b="1"/>
              <a:t>】</a:t>
            </a:r>
            <a:br>
              <a:rPr lang="en-US" altLang="ja-JP" sz="5600"/>
            </a:br>
            <a:r>
              <a:rPr lang="ja-JP" altLang="en-US" sz="5600" u="sng"/>
              <a:t>太平洋側の内航ネットワーク</a:t>
            </a:r>
            <a:endParaRPr lang="en-US" altLang="ja-JP" sz="5600" u="sng"/>
          </a:p>
          <a:p>
            <a:pPr defTabSz="4233170">
              <a:defRPr/>
            </a:pPr>
            <a:r>
              <a:rPr lang="ja-JP" altLang="en-US" sz="5600">
                <a:latin typeface="Arial"/>
                <a:ea typeface="ＭＳ Ｐ明朝"/>
                <a:cs typeface="Arial"/>
              </a:rPr>
              <a:t>充実の航路数（全</a:t>
            </a:r>
            <a:r>
              <a:rPr lang="en-US" altLang="ja-JP" sz="5600">
                <a:latin typeface="Arial"/>
                <a:ea typeface="ＭＳ Ｐ明朝"/>
                <a:cs typeface="Arial"/>
              </a:rPr>
              <a:t>6</a:t>
            </a:r>
            <a:r>
              <a:rPr lang="ja-JP" altLang="en-US" sz="5600">
                <a:latin typeface="Arial"/>
                <a:ea typeface="ＭＳ Ｐ明朝"/>
                <a:cs typeface="Arial"/>
              </a:rPr>
              <a:t>航路）。</a:t>
            </a:r>
            <a:r>
              <a:rPr lang="en-US" altLang="ja-JP" sz="5600">
                <a:latin typeface="Arial"/>
                <a:ea typeface="ＭＳ Ｐ明朝"/>
                <a:cs typeface="Arial"/>
              </a:rPr>
              <a:t>300km</a:t>
            </a:r>
            <a:r>
              <a:rPr lang="ja-JP" altLang="en-US" sz="5600">
                <a:latin typeface="Arial"/>
                <a:ea typeface="ＭＳ Ｐ明朝"/>
                <a:cs typeface="Arial"/>
              </a:rPr>
              <a:t>以上の距離を運航するフェリーとしては、貨物輸送シェア3</a:t>
            </a:r>
            <a:r>
              <a:rPr lang="en-US" altLang="ja-JP" sz="5600">
                <a:latin typeface="Arial"/>
                <a:ea typeface="ＭＳ Ｐ明朝"/>
                <a:cs typeface="Arial"/>
              </a:rPr>
              <a:t>0%</a:t>
            </a:r>
            <a:r>
              <a:rPr lang="ja-JP" altLang="en-US" sz="5600">
                <a:latin typeface="Arial"/>
                <a:ea typeface="ＭＳ Ｐ明朝"/>
                <a:cs typeface="Arial"/>
              </a:rPr>
              <a:t>を獲得。</a:t>
            </a:r>
            <a:endParaRPr lang="en-US" altLang="ja-JP" sz="5600">
              <a:latin typeface="Arial"/>
              <a:ea typeface="ＭＳ Ｐ明朝"/>
              <a:cs typeface="Arial"/>
            </a:endParaRPr>
          </a:p>
          <a:p>
            <a:pPr defTabSz="4233170">
              <a:defRPr/>
            </a:pPr>
            <a:endParaRPr lang="en-US" altLang="ja-JP" sz="5600"/>
          </a:p>
          <a:p>
            <a:pPr defTabSz="4233170">
              <a:defRPr/>
            </a:pPr>
            <a:r>
              <a:rPr lang="ja-JP" altLang="en-US" sz="5600"/>
              <a:t>①フェリーさんふらわあ：</a:t>
            </a:r>
            <a:r>
              <a:rPr lang="en-US" altLang="ja-JP" sz="5600"/>
              <a:t>3</a:t>
            </a:r>
            <a:r>
              <a:rPr lang="ja-JP" altLang="en-US" sz="5600"/>
              <a:t>航路</a:t>
            </a:r>
            <a:endParaRPr lang="en-US" altLang="ja-JP" sz="5600"/>
          </a:p>
          <a:p>
            <a:pPr defTabSz="4233170">
              <a:defRPr/>
            </a:pPr>
            <a:r>
              <a:rPr lang="ja-JP" altLang="en-US" sz="5600"/>
              <a:t>神戸⇔大分航路 </a:t>
            </a:r>
            <a:r>
              <a:rPr lang="en-US" altLang="ja-JP" sz="5600"/>
              <a:t>/ </a:t>
            </a:r>
            <a:r>
              <a:rPr lang="ja-JP" altLang="en-US" sz="5600"/>
              <a:t>夜出発、朝到着</a:t>
            </a:r>
            <a:endParaRPr lang="en-US" altLang="ja-JP" sz="5600"/>
          </a:p>
          <a:p>
            <a:pPr defTabSz="4233170">
              <a:defRPr/>
            </a:pPr>
            <a:r>
              <a:rPr lang="ja-JP" altLang="en-US" sz="5600"/>
              <a:t>大阪⇔別府航路 </a:t>
            </a:r>
            <a:r>
              <a:rPr lang="en-US" altLang="ja-JP" sz="5600"/>
              <a:t>/</a:t>
            </a:r>
            <a:r>
              <a:rPr lang="ja-JP" altLang="en-US" sz="5600"/>
              <a:t>夜出発、朝到着</a:t>
            </a:r>
            <a:endParaRPr lang="en-US" altLang="ja-JP" sz="5600"/>
          </a:p>
          <a:p>
            <a:pPr defTabSz="4233170">
              <a:defRPr/>
            </a:pPr>
            <a:r>
              <a:rPr lang="ja-JP" altLang="en-US" sz="5600"/>
              <a:t>大阪⇔志布志航路 </a:t>
            </a:r>
            <a:r>
              <a:rPr lang="en-US" altLang="ja-JP" sz="5600"/>
              <a:t>/</a:t>
            </a:r>
            <a:r>
              <a:rPr lang="ja-JP" altLang="en-US" sz="5600"/>
              <a:t>夕方出発、朝到着　</a:t>
            </a:r>
            <a:r>
              <a:rPr lang="en-US" altLang="ja-JP" sz="5600"/>
              <a:t>※</a:t>
            </a:r>
            <a:r>
              <a:rPr lang="ja-JP" altLang="en-US" sz="5600"/>
              <a:t>鹿児島行きはフェリーさんふらわあのみ</a:t>
            </a:r>
            <a:endParaRPr lang="en-US" altLang="ja-JP" sz="5600"/>
          </a:p>
          <a:p>
            <a:pPr defTabSz="4233170">
              <a:defRPr/>
            </a:pPr>
            <a:endParaRPr lang="en-US" altLang="ja-JP" sz="5600"/>
          </a:p>
          <a:p>
            <a:pPr defTabSz="4233170">
              <a:defRPr/>
            </a:pPr>
            <a:r>
              <a:rPr lang="ja-JP" altLang="en-US" sz="5600"/>
              <a:t>②商船三井フェリー：</a:t>
            </a:r>
            <a:r>
              <a:rPr lang="en-US" altLang="ja-JP" sz="5600"/>
              <a:t>3</a:t>
            </a:r>
            <a:r>
              <a:rPr lang="ja-JP" altLang="en-US" sz="5600"/>
              <a:t>航路</a:t>
            </a:r>
            <a:endParaRPr lang="en-US" altLang="ja-JP" sz="5600"/>
          </a:p>
          <a:p>
            <a:pPr defTabSz="4233170">
              <a:defRPr/>
            </a:pPr>
            <a:r>
              <a:rPr lang="ja-JP" altLang="en-US" sz="5600"/>
              <a:t>大洗⇔苫小牧航路 </a:t>
            </a:r>
            <a:r>
              <a:rPr lang="en-US" altLang="ja-JP" sz="5600"/>
              <a:t>/ </a:t>
            </a:r>
            <a:r>
              <a:rPr lang="ja-JP" altLang="en-US" sz="5600"/>
              <a:t>夕方便：夜出発、翌日昼過ぎ到着</a:t>
            </a:r>
            <a:endParaRPr lang="en-US" altLang="ja-JP" sz="5600"/>
          </a:p>
          <a:p>
            <a:pPr defTabSz="4233170">
              <a:defRPr/>
            </a:pPr>
            <a:r>
              <a:rPr lang="ja-JP" altLang="en-US" sz="5600"/>
              <a:t>　　　　　　　　　　　　　　深夜便：深夜出発、同日夜到着</a:t>
            </a:r>
            <a:endParaRPr lang="en-US" altLang="ja-JP" sz="5600"/>
          </a:p>
          <a:p>
            <a:pPr defTabSz="4233170">
              <a:defRPr/>
            </a:pPr>
            <a:r>
              <a:rPr lang="ja-JP" altLang="en-US" sz="5600"/>
              <a:t>苅田航路</a:t>
            </a:r>
            <a:endParaRPr lang="en-US" altLang="ja-JP" sz="5600"/>
          </a:p>
          <a:p>
            <a:pPr defTabSz="4233170">
              <a:defRPr/>
            </a:pPr>
            <a:r>
              <a:rPr lang="ja-JP" altLang="en-US" sz="5600"/>
              <a:t>東京～苅田 </a:t>
            </a:r>
            <a:r>
              <a:rPr lang="en-US" altLang="ja-JP" sz="5600"/>
              <a:t>/ </a:t>
            </a:r>
            <a:r>
              <a:rPr lang="ja-JP" altLang="en-US" sz="5600"/>
              <a:t>夜出発、翌日夜到着</a:t>
            </a:r>
            <a:endParaRPr lang="en-US" altLang="ja-JP" sz="5600"/>
          </a:p>
          <a:p>
            <a:pPr defTabSz="4233170">
              <a:defRPr/>
            </a:pPr>
            <a:r>
              <a:rPr lang="ja-JP" altLang="en-US" sz="5600"/>
              <a:t>苅田～東京 </a:t>
            </a:r>
            <a:r>
              <a:rPr lang="en-US" altLang="ja-JP" sz="5600"/>
              <a:t>/ </a:t>
            </a:r>
            <a:r>
              <a:rPr lang="ja-JP" altLang="en-US" sz="5600"/>
              <a:t>早朝出発、翌日朝到着（上りの土曜日のみ、出発日昼過ぎに宇野に寄港）</a:t>
            </a:r>
            <a:endParaRPr lang="en-US" altLang="ja-JP" sz="5600"/>
          </a:p>
          <a:p>
            <a:pPr defTabSz="4233170">
              <a:defRPr/>
            </a:pPr>
            <a:endParaRPr lang="en-US" altLang="ja-JP" sz="5600"/>
          </a:p>
          <a:p>
            <a:pPr defTabSz="4233170">
              <a:defRPr/>
            </a:pPr>
            <a:r>
              <a:rPr lang="ja-JP" altLang="en-US" sz="5600"/>
              <a:t>博多航路</a:t>
            </a:r>
            <a:endParaRPr lang="en-US" altLang="ja-JP" sz="5600"/>
          </a:p>
          <a:p>
            <a:pPr defTabSz="4233170">
              <a:defRPr/>
            </a:pPr>
            <a:r>
              <a:rPr lang="ja-JP" altLang="en-US" sz="5600"/>
              <a:t>東京～御前崎～博多 </a:t>
            </a:r>
            <a:r>
              <a:rPr lang="en-US" altLang="ja-JP" sz="5600"/>
              <a:t>/</a:t>
            </a:r>
            <a:r>
              <a:rPr lang="ja-JP" altLang="en-US" sz="5600"/>
              <a:t>　東京夜出発、御前崎翌朝到着、博多翌朝到着（東京出発日＋</a:t>
            </a:r>
            <a:r>
              <a:rPr lang="en-US" altLang="ja-JP" sz="5600"/>
              <a:t>2</a:t>
            </a:r>
            <a:r>
              <a:rPr lang="ja-JP" altLang="en-US" sz="5600"/>
              <a:t>日）</a:t>
            </a:r>
            <a:endParaRPr lang="en-US" altLang="ja-JP" sz="5600"/>
          </a:p>
          <a:p>
            <a:pPr defTabSz="4233170">
              <a:defRPr/>
            </a:pPr>
            <a:r>
              <a:rPr lang="ja-JP" altLang="en-US" sz="5600"/>
              <a:t>博多～大分～岩国～東京 </a:t>
            </a:r>
            <a:r>
              <a:rPr lang="en-US" altLang="ja-JP" sz="5600"/>
              <a:t>/ </a:t>
            </a:r>
            <a:r>
              <a:rPr lang="ja-JP" altLang="en-US" sz="5600"/>
              <a:t>博多夕方出発、大分もしくは岩国に翌深夜到着、東京翌朝到着（博多出発日＋</a:t>
            </a:r>
            <a:r>
              <a:rPr lang="en-US" altLang="ja-JP" sz="5600"/>
              <a:t>2</a:t>
            </a:r>
            <a:r>
              <a:rPr lang="ja-JP" altLang="en-US" sz="5600"/>
              <a:t>日）</a:t>
            </a:r>
            <a:endParaRPr lang="en-US" altLang="ja-JP" sz="5600"/>
          </a:p>
          <a:p>
            <a:pPr defTabSz="4233170">
              <a:defRPr/>
            </a:pPr>
            <a:r>
              <a:rPr lang="en-US" altLang="ja-JP" sz="5600"/>
              <a:t> </a:t>
            </a:r>
          </a:p>
          <a:p>
            <a:pPr defTabSz="4233170">
              <a:defRPr/>
            </a:pPr>
            <a:r>
              <a:rPr lang="en-US" altLang="ja-JP" sz="5600" u="sng"/>
              <a:t>BCP</a:t>
            </a:r>
            <a:r>
              <a:rPr lang="ja-JP" altLang="en-US" sz="5600" u="sng"/>
              <a:t>対応について（フェリーの強み）</a:t>
            </a:r>
            <a:endParaRPr lang="en-US" altLang="ja-JP" sz="5600" u="sng"/>
          </a:p>
          <a:p>
            <a:pPr defTabSz="4233170">
              <a:defRPr/>
            </a:pPr>
            <a:r>
              <a:rPr lang="ja-JP" altLang="en-US" sz="5600"/>
              <a:t>災害時に道路網が遮断された際も、港があれば（寄港地であれば）フェリーを用いた物流支援が可能。</a:t>
            </a:r>
            <a:endParaRPr lang="en-US" altLang="ja-JP" sz="5600"/>
          </a:p>
          <a:p>
            <a:pPr defTabSz="4233170">
              <a:defRPr/>
            </a:pPr>
            <a:r>
              <a:rPr lang="ja-JP" altLang="en-US" sz="5600"/>
              <a:t>しかし、有事の際にスペースが避けるかどうかは、平常時の船積み実績によることもある。</a:t>
            </a:r>
            <a:endParaRPr lang="en-US" altLang="ja-JP" sz="5600"/>
          </a:p>
          <a:p>
            <a:pPr defTabSz="4233170">
              <a:defRPr/>
            </a:pPr>
            <a:r>
              <a:rPr lang="en-US" altLang="ja-JP" sz="5600"/>
              <a:t>BCP</a:t>
            </a:r>
            <a:r>
              <a:rPr lang="ja-JP" altLang="en-US" sz="5600"/>
              <a:t>対応という意味で、普段からフェリーを使った物流も是非検討してほしい。</a:t>
            </a:r>
            <a:endParaRPr lang="en-US" altLang="ja-JP" sz="5600"/>
          </a:p>
          <a:p>
            <a:pPr defTabSz="4233170">
              <a:defRPr/>
            </a:pPr>
            <a:endParaRPr lang="en-US" altLang="ja-JP" sz="5600" u="sng"/>
          </a:p>
          <a:p>
            <a:pPr defTabSz="4233170">
              <a:defRPr/>
            </a:pPr>
            <a:r>
              <a:rPr lang="en-US" altLang="ja-JP" sz="5600" u="sng"/>
              <a:t>(</a:t>
            </a:r>
            <a:r>
              <a:rPr lang="ja-JP" altLang="en-US" sz="5600" u="sng"/>
              <a:t>参考</a:t>
            </a:r>
            <a:r>
              <a:rPr lang="en-US" altLang="ja-JP" sz="5600" u="sng"/>
              <a:t>) </a:t>
            </a:r>
            <a:r>
              <a:rPr lang="ja-JP" altLang="en-US" sz="5600" u="sng"/>
              <a:t>トラックドライバー関連問題への対応</a:t>
            </a:r>
            <a:endParaRPr lang="en-US" altLang="ja-JP" sz="5600" u="sng"/>
          </a:p>
          <a:p>
            <a:pPr defTabSz="4233170">
              <a:defRPr/>
            </a:pPr>
            <a:r>
              <a:rPr lang="en-US" altLang="ja-JP" sz="5600">
                <a:latin typeface="Arial"/>
                <a:ea typeface="ＭＳ Ｐ明朝"/>
                <a:cs typeface="Arial"/>
              </a:rPr>
              <a:t>-  </a:t>
            </a:r>
            <a:r>
              <a:rPr lang="ja-JP" altLang="en-US"/>
              <a:t>長距離走行の回避によるドライバーの疲労軽減と事故削減</a:t>
            </a:r>
            <a:endParaRPr lang="en-US" altLang="ja-JP" sz="5600"/>
          </a:p>
          <a:p>
            <a:pPr defTabSz="4233170">
              <a:defRPr/>
            </a:pPr>
            <a:r>
              <a:rPr lang="ja-JP">
                <a:latin typeface="Arial"/>
                <a:ea typeface="ＭＳ Ｐ明朝"/>
                <a:cs typeface="Arial"/>
              </a:rPr>
              <a:t>-</a:t>
            </a:r>
            <a:r>
              <a:rPr lang="ja-JP" altLang="en-US">
                <a:latin typeface="Arial"/>
                <a:ea typeface="ＭＳ Ｐ明朝"/>
                <a:cs typeface="Arial"/>
              </a:rPr>
              <a:t>  </a:t>
            </a:r>
            <a:r>
              <a:rPr kumimoji="1" lang="ja-JP" u="none">
                <a:latin typeface="Arial"/>
                <a:ea typeface="ＭＳ Ｐ明朝"/>
                <a:cs typeface="Arial"/>
              </a:rPr>
              <a:t>労</a:t>
            </a:r>
            <a:r>
              <a:rPr lang="ja-JP">
                <a:latin typeface="Arial"/>
                <a:ea typeface="ＭＳ Ｐ明朝"/>
                <a:cs typeface="Arial"/>
              </a:rPr>
              <a:t>基法</a:t>
            </a:r>
            <a:r>
              <a:rPr kumimoji="1" lang="ja-JP" u="none">
                <a:latin typeface="Arial"/>
                <a:ea typeface="ＭＳ Ｐ明朝"/>
                <a:cs typeface="Arial"/>
              </a:rPr>
              <a:t>改</a:t>
            </a:r>
            <a:r>
              <a:rPr lang="ja-JP">
                <a:latin typeface="Arial"/>
                <a:ea typeface="ＭＳ Ｐ明朝"/>
                <a:cs typeface="Arial"/>
              </a:rPr>
              <a:t>正（拘束時間や連続運転時間の短縮化）</a:t>
            </a:r>
            <a:r>
              <a:rPr kumimoji="1" lang="ja-JP" u="none">
                <a:latin typeface="Arial"/>
                <a:ea typeface="ＭＳ Ｐ明朝"/>
                <a:cs typeface="Arial"/>
              </a:rPr>
              <a:t>に</a:t>
            </a:r>
            <a:r>
              <a:rPr lang="ja-JP">
                <a:latin typeface="Arial"/>
                <a:ea typeface="ＭＳ Ｐ明朝"/>
                <a:cs typeface="Arial"/>
              </a:rPr>
              <a:t>伴うトラック</a:t>
            </a:r>
            <a:r>
              <a:rPr kumimoji="1" lang="ja-JP" u="none">
                <a:latin typeface="Arial"/>
                <a:ea typeface="ＭＳ Ｐ明朝"/>
                <a:cs typeface="Arial"/>
              </a:rPr>
              <a:t>ドライバー不足問題の解消（に繋がる）</a:t>
            </a:r>
            <a:endParaRPr lang="en-US">
              <a:latin typeface="Arial"/>
              <a:ea typeface="ＭＳ Ｐ明朝"/>
              <a:cs typeface="Arial"/>
            </a:endParaRPr>
          </a:p>
          <a:p>
            <a:pPr defTabSz="4233170">
              <a:defRPr/>
            </a:pPr>
            <a:endParaRPr lang="en-US" altLang="ja-JP" sz="5600">
              <a:cs typeface="Arial"/>
            </a:endParaRPr>
          </a:p>
          <a:p>
            <a:r>
              <a:rPr lang="en-US" altLang="ja-JP" sz="5600" b="1"/>
              <a:t>【</a:t>
            </a:r>
            <a:r>
              <a:rPr lang="ja-JP" altLang="en-US" sz="5600" b="1"/>
              <a:t>参考</a:t>
            </a:r>
            <a:r>
              <a:rPr lang="en-US" altLang="ja-JP" sz="5600" b="1"/>
              <a:t>】</a:t>
            </a:r>
          </a:p>
          <a:p>
            <a:r>
              <a:rPr lang="ja-JP" altLang="en-US" sz="5600"/>
              <a:t>・会社</a:t>
            </a:r>
            <a:r>
              <a:rPr lang="en-US" altLang="ja-JP" sz="5600"/>
              <a:t>HP</a:t>
            </a:r>
            <a:r>
              <a:rPr lang="ja-JP" altLang="en-US" sz="5600"/>
              <a:t>　</a:t>
            </a:r>
            <a:r>
              <a:rPr lang="en-US" altLang="ja-JP" sz="5600"/>
              <a:t>		</a:t>
            </a:r>
            <a:r>
              <a:rPr lang="ja-JP" altLang="en-US" sz="5600"/>
              <a:t>：㈱フェリーさんふらわあ　</a:t>
            </a:r>
            <a:r>
              <a:rPr lang="en-US" altLang="ja-JP" sz="5600"/>
              <a:t>(</a:t>
            </a:r>
            <a:r>
              <a:rPr lang="en-US" altLang="ja-JP" sz="5600">
                <a:hlinkClick r:id="rId3"/>
              </a:rPr>
              <a:t>https://www.ferry-sunflower.co.jp/</a:t>
            </a:r>
            <a:r>
              <a:rPr lang="en-US" altLang="ja-JP" sz="5600"/>
              <a:t>)</a:t>
            </a:r>
          </a:p>
          <a:p>
            <a:r>
              <a:rPr lang="ja-JP" altLang="en-US" sz="5600"/>
              <a:t>　　　　　　　　</a:t>
            </a:r>
            <a:r>
              <a:rPr lang="en-US" altLang="ja-JP" sz="5600"/>
              <a:t>		</a:t>
            </a:r>
            <a:r>
              <a:rPr lang="ja-JP" altLang="en-US" sz="5600"/>
              <a:t>　　商船三井フェリー㈱ </a:t>
            </a:r>
            <a:r>
              <a:rPr lang="en-US" altLang="ja-JP" sz="5600"/>
              <a:t>(</a:t>
            </a:r>
            <a:r>
              <a:rPr lang="en-US" altLang="ja-JP" sz="5600">
                <a:hlinkClick r:id="rId4"/>
              </a:rPr>
              <a:t>https://www.sunflower.co.jp/</a:t>
            </a:r>
            <a:r>
              <a:rPr lang="en-US" altLang="ja-JP" sz="5600"/>
              <a:t>)</a:t>
            </a:r>
          </a:p>
          <a:p>
            <a:r>
              <a:rPr lang="ja-JP" altLang="en-US" sz="5600"/>
              <a:t>・航路情報</a:t>
            </a:r>
            <a:r>
              <a:rPr lang="en-US" altLang="ja-JP" sz="5600"/>
              <a:t>		</a:t>
            </a:r>
            <a:r>
              <a:rPr lang="ja-JP" altLang="en-US" sz="5600"/>
              <a:t>：関西⇔九州　（</a:t>
            </a:r>
            <a:r>
              <a:rPr lang="en-US" altLang="ja-JP" sz="5600">
                <a:hlinkClick r:id="rId3"/>
              </a:rPr>
              <a:t>https://www.ferry-sunflower.co.jp/</a:t>
            </a:r>
            <a:r>
              <a:rPr lang="en-US" altLang="ja-JP" sz="5600"/>
              <a:t>)</a:t>
            </a:r>
            <a:r>
              <a:rPr lang="ja-JP" altLang="en-US" sz="5600"/>
              <a:t>→「航路・時刻表・運賃」へ</a:t>
            </a:r>
            <a:endParaRPr lang="en-US" altLang="ja-JP" sz="5600"/>
          </a:p>
          <a:p>
            <a:r>
              <a:rPr lang="ja-JP" altLang="en-US" sz="5600"/>
              <a:t>　　　　　　</a:t>
            </a:r>
            <a:r>
              <a:rPr lang="en-US" altLang="ja-JP" sz="5600"/>
              <a:t>		</a:t>
            </a:r>
            <a:r>
              <a:rPr lang="ja-JP" altLang="en-US" sz="5600"/>
              <a:t>　　関東⇔九州・北海道（</a:t>
            </a:r>
            <a:r>
              <a:rPr lang="en-US" altLang="ja-JP" sz="5600">
                <a:hlinkClick r:id="rId5"/>
              </a:rPr>
              <a:t>https://www.sunflower.co.jp/route/facilities/timetable/</a:t>
            </a:r>
            <a:r>
              <a:rPr lang="ja-JP" altLang="en-US" sz="5600"/>
              <a:t>）</a:t>
            </a:r>
            <a:endParaRPr lang="en-US" altLang="ja-JP" sz="5600"/>
          </a:p>
          <a:p>
            <a:pPr defTabSz="1429024">
              <a:defRPr/>
            </a:pPr>
            <a:r>
              <a:rPr lang="ja-JP" altLang="en-US" sz="5600"/>
              <a:t>・</a:t>
            </a:r>
            <a:r>
              <a:rPr lang="en-US" altLang="ja-JP" sz="5600"/>
              <a:t>MOL</a:t>
            </a:r>
            <a:r>
              <a:rPr lang="ja-JP" altLang="en-US" sz="5600"/>
              <a:t>管理担当部</a:t>
            </a:r>
            <a:r>
              <a:rPr lang="en-US" altLang="ja-JP" sz="5600"/>
              <a:t>	</a:t>
            </a:r>
            <a:r>
              <a:rPr lang="ja-JP" altLang="en-US" sz="5600"/>
              <a:t>：フェリー・関連事業部　フェリー統括チーム</a:t>
            </a:r>
            <a:endParaRPr lang="en-US" altLang="ja-JP" sz="5600"/>
          </a:p>
        </p:txBody>
      </p:sp>
      <p:sp>
        <p:nvSpPr>
          <p:cNvPr id="4" name="スライド番号プレースホルダー 3"/>
          <p:cNvSpPr>
            <a:spLocks noGrp="1"/>
          </p:cNvSpPr>
          <p:nvPr>
            <p:ph type="sldNum" sz="quarter" idx="5"/>
          </p:nvPr>
        </p:nvSpPr>
        <p:spPr/>
        <p:txBody>
          <a:bodyPr/>
          <a:lstStyle/>
          <a:p>
            <a:pPr marL="0" marR="0" lvl="0" indent="0" algn="r" defTabSz="2934433" rtl="0" eaLnBrk="1" fontAlgn="base" latinLnBrk="0" hangingPunct="1">
              <a:lnSpc>
                <a:spcPct val="100000"/>
              </a:lnSpc>
              <a:spcBef>
                <a:spcPct val="0"/>
              </a:spcBef>
              <a:spcAft>
                <a:spcPct val="0"/>
              </a:spcAft>
              <a:buClrTx/>
              <a:buSzTx/>
              <a:buFontTx/>
              <a:buNone/>
              <a:tabLst/>
              <a:defRPr/>
            </a:pPr>
            <a:fld id="{814ACBF0-1D8A-4116-8E18-E6A26ACDBD13}" type="slidenum">
              <a:rPr kumimoji="1" lang="en-US" altLang="ja-JP" sz="3900" b="0" i="0" u="none" strike="noStrike" kern="1200" cap="none" spc="0" normalizeH="0" baseline="0" noProof="0" smtClean="0">
                <a:ln>
                  <a:noFill/>
                </a:ln>
                <a:solidFill>
                  <a:srgbClr val="000000"/>
                </a:solidFill>
                <a:effectLst/>
                <a:uLnTx/>
                <a:uFillTx/>
                <a:latin typeface="Arial" charset="0"/>
                <a:ea typeface="ＭＳ Ｐゴシック" pitchFamily="50" charset="-128"/>
              </a:rPr>
              <a:pPr marL="0" marR="0" lvl="0" indent="0" algn="r" defTabSz="2934433" rtl="0" eaLnBrk="1" fontAlgn="base" latinLnBrk="0" hangingPunct="1">
                <a:lnSpc>
                  <a:spcPct val="100000"/>
                </a:lnSpc>
                <a:spcBef>
                  <a:spcPct val="0"/>
                </a:spcBef>
                <a:spcAft>
                  <a:spcPct val="0"/>
                </a:spcAft>
                <a:buClrTx/>
                <a:buSzTx/>
                <a:buFontTx/>
                <a:buNone/>
                <a:tabLst/>
                <a:defRPr/>
              </a:pPr>
              <a:t>4</a:t>
            </a:fld>
            <a:endParaRPr kumimoji="1" lang="en-US" altLang="ja-JP" sz="3900" b="0" i="0" u="none" strike="noStrike" kern="1200" cap="none" spc="0" normalizeH="0" baseline="0" noProof="0">
              <a:ln>
                <a:noFill/>
              </a:ln>
              <a:solidFill>
                <a:srgbClr val="000000"/>
              </a:solidFill>
              <a:effectLst/>
              <a:uLnTx/>
              <a:uFillTx/>
              <a:latin typeface="Arial" charset="0"/>
              <a:ea typeface="ＭＳ Ｐゴシック" pitchFamily="50" charset="-128"/>
            </a:endParaRPr>
          </a:p>
        </p:txBody>
      </p:sp>
    </p:spTree>
    <p:extLst>
      <p:ext uri="{BB962C8B-B14F-4D97-AF65-F5344CB8AC3E}">
        <p14:creationId xmlns:p14="http://schemas.microsoft.com/office/powerpoint/2010/main" val="4043022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6972003-E179-5242-B859-48D964B99D31}" type="slidenum">
              <a:rPr kumimoji="1" lang="ja-JP" altLang="en-US" sz="11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1" lang="ja-JP" altLang="en-US" sz="11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917381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832131" eaLnBrk="1" fontAlgn="auto" latinLnBrk="0" hangingPunct="1">
              <a:lnSpc>
                <a:spcPct val="100000"/>
              </a:lnSpc>
              <a:spcBef>
                <a:spcPts val="0"/>
              </a:spcBef>
              <a:spcAft>
                <a:spcPts val="0"/>
              </a:spcAft>
              <a:buClrTx/>
              <a:buSzTx/>
              <a:buFontTx/>
              <a:buNone/>
              <a:tabLst/>
              <a:defRPr/>
            </a:pPr>
            <a:fld id="{46972003-E179-5242-B859-48D964B99D31}" type="slidenum">
              <a:rPr kumimoji="1" lang="ja-JP" altLang="en-US" sz="1100" b="0" i="0" u="none" strike="noStrike" kern="0" cap="none" spc="0" normalizeH="0" baseline="0" noProof="0">
                <a:ln>
                  <a:noFill/>
                </a:ln>
                <a:solidFill>
                  <a:sysClr val="windowText" lastClr="000000"/>
                </a:solidFill>
                <a:effectLst/>
                <a:uLnTx/>
                <a:uFillTx/>
              </a:rPr>
              <a:pPr marL="0" marR="0" lvl="0" indent="0" algn="r" defTabSz="832131" eaLnBrk="1" fontAlgn="auto" latinLnBrk="0" hangingPunct="1">
                <a:lnSpc>
                  <a:spcPct val="100000"/>
                </a:lnSpc>
                <a:spcBef>
                  <a:spcPts val="0"/>
                </a:spcBef>
                <a:spcAft>
                  <a:spcPts val="0"/>
                </a:spcAft>
                <a:buClrTx/>
                <a:buSzTx/>
                <a:buFontTx/>
                <a:buNone/>
                <a:tabLst/>
                <a:defRPr/>
              </a:pPr>
              <a:t>7</a:t>
            </a:fld>
            <a:endParaRPr kumimoji="1" lang="ja-JP" altLang="en-US" sz="11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216231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6972003-E179-5242-B859-48D964B99D31}" type="slidenum">
              <a:rPr kumimoji="1" lang="ja-JP" altLang="en-US" sz="11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a:t>
            </a:fld>
            <a:endParaRPr kumimoji="1" lang="ja-JP" altLang="en-US" sz="11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098277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a:t>(</a:t>
            </a:r>
            <a:r>
              <a:rPr kumimoji="1" lang="ja-JP" altLang="en-US"/>
              <a:t>使用実績：推進用主機関</a:t>
            </a:r>
            <a:r>
              <a:rPr kumimoji="1" lang="en-US" altLang="ja-JP"/>
              <a:t>94</a:t>
            </a:r>
            <a:r>
              <a:rPr kumimoji="1" lang="ja-JP" altLang="en-US"/>
              <a:t>％、発電用機関</a:t>
            </a:r>
            <a:r>
              <a:rPr kumimoji="1" lang="en-US" altLang="ja-JP"/>
              <a:t>75%)</a:t>
            </a:r>
            <a:br>
              <a:rPr kumimoji="1" lang="en-US" altLang="ja-JP"/>
            </a:br>
            <a:r>
              <a:rPr kumimoji="1" lang="ja-JP" altLang="en-US"/>
              <a:t>環境</a:t>
            </a:r>
            <a:br>
              <a:rPr kumimoji="1" lang="en-US" altLang="ja-JP"/>
            </a:br>
            <a:r>
              <a:rPr kumimoji="1" lang="ja-JP" altLang="en-US"/>
              <a:t>・導入したことによる実績</a:t>
            </a:r>
            <a:endParaRPr kumimoji="1" lang="en-US" altLang="ja-JP"/>
          </a:p>
          <a:p>
            <a:r>
              <a:rPr kumimoji="1" lang="ja-JP" altLang="en-US"/>
              <a:t>　実際に</a:t>
            </a:r>
            <a:r>
              <a:rPr kumimoji="1" lang="en-US" altLang="ja-JP"/>
              <a:t>DF</a:t>
            </a:r>
            <a:r>
              <a:rPr kumimoji="1" lang="ja-JP" altLang="en-US"/>
              <a:t>でも</a:t>
            </a:r>
            <a:r>
              <a:rPr kumimoji="1" lang="en-US" altLang="ja-JP"/>
              <a:t>LNG</a:t>
            </a:r>
            <a:r>
              <a:rPr kumimoji="1" lang="ja-JP" altLang="en-US"/>
              <a:t>を利用している（入出港以外は</a:t>
            </a:r>
            <a:r>
              <a:rPr kumimoji="1" lang="en-US" altLang="ja-JP"/>
              <a:t>LNG</a:t>
            </a:r>
            <a:r>
              <a:rPr kumimoji="1" lang="ja-JP" altLang="en-US"/>
              <a:t>で走って）</a:t>
            </a:r>
            <a:br>
              <a:rPr kumimoji="1" lang="en-US" altLang="ja-JP"/>
            </a:br>
            <a:r>
              <a:rPr kumimoji="1" lang="ja-JP" altLang="en-US"/>
              <a:t>・フェリーだからこそ、環境意識の啓発の一助</a:t>
            </a:r>
          </a:p>
        </p:txBody>
      </p:sp>
      <p:sp>
        <p:nvSpPr>
          <p:cNvPr id="4" name="スライド番号プレースホルダー 3"/>
          <p:cNvSpPr>
            <a:spLocks noGrp="1"/>
          </p:cNvSpPr>
          <p:nvPr>
            <p:ph type="sldNum" sz="quarter" idx="5"/>
          </p:nvPr>
        </p:nvSpPr>
        <p:spPr/>
        <p:txBody>
          <a:bodyPr/>
          <a:lstStyle/>
          <a:p>
            <a:fld id="{46972003-E179-5242-B859-48D964B99D31}" type="slidenum">
              <a:rPr kumimoji="1" lang="ja-JP" altLang="en-US" smtClean="0"/>
              <a:t>15</a:t>
            </a:fld>
            <a:endParaRPr kumimoji="1" lang="ja-JP" altLang="en-US"/>
          </a:p>
        </p:txBody>
      </p:sp>
    </p:spTree>
    <p:extLst>
      <p:ext uri="{BB962C8B-B14F-4D97-AF65-F5344CB8AC3E}">
        <p14:creationId xmlns:p14="http://schemas.microsoft.com/office/powerpoint/2010/main" val="283407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環境</a:t>
            </a:r>
            <a:br>
              <a:rPr kumimoji="1" lang="en-US" altLang="ja-JP"/>
            </a:br>
            <a:r>
              <a:rPr kumimoji="1" lang="ja-JP" altLang="en-US"/>
              <a:t>・導入したことによる実績</a:t>
            </a:r>
            <a:endParaRPr kumimoji="1" lang="en-US" altLang="ja-JP"/>
          </a:p>
          <a:p>
            <a:r>
              <a:rPr kumimoji="1" lang="ja-JP" altLang="en-US"/>
              <a:t>　実際に</a:t>
            </a:r>
            <a:r>
              <a:rPr kumimoji="1" lang="en-US" altLang="ja-JP"/>
              <a:t>DF</a:t>
            </a:r>
            <a:r>
              <a:rPr kumimoji="1" lang="ja-JP" altLang="en-US"/>
              <a:t>でも</a:t>
            </a:r>
            <a:r>
              <a:rPr kumimoji="1" lang="en-US" altLang="ja-JP"/>
              <a:t>LNG</a:t>
            </a:r>
            <a:r>
              <a:rPr kumimoji="1" lang="ja-JP" altLang="en-US"/>
              <a:t>を利用している（入出港以外は</a:t>
            </a:r>
            <a:r>
              <a:rPr kumimoji="1" lang="en-US" altLang="ja-JP"/>
              <a:t>LNG</a:t>
            </a:r>
            <a:r>
              <a:rPr kumimoji="1" lang="ja-JP" altLang="en-US"/>
              <a:t>で走って）</a:t>
            </a:r>
            <a:br>
              <a:rPr kumimoji="1" lang="en-US" altLang="ja-JP"/>
            </a:br>
            <a:r>
              <a:rPr kumimoji="1" lang="ja-JP" altLang="en-US"/>
              <a:t>・フェリーだからこそ、環境意識の啓発の一助</a:t>
            </a:r>
            <a:endParaRPr kumimoji="1" lang="en-US" altLang="ja-JP"/>
          </a:p>
          <a:p>
            <a:endParaRPr kumimoji="1" lang="en-US" altLang="ja-JP"/>
          </a:p>
        </p:txBody>
      </p:sp>
      <p:sp>
        <p:nvSpPr>
          <p:cNvPr id="4" name="スライド番号プレースホルダー 3"/>
          <p:cNvSpPr>
            <a:spLocks noGrp="1"/>
          </p:cNvSpPr>
          <p:nvPr>
            <p:ph type="sldNum" sz="quarter" idx="5"/>
          </p:nvPr>
        </p:nvSpPr>
        <p:spPr/>
        <p:txBody>
          <a:bodyPr/>
          <a:lstStyle/>
          <a:p>
            <a:fld id="{46972003-E179-5242-B859-48D964B99D31}" type="slidenum">
              <a:rPr kumimoji="1" lang="ja-JP" altLang="en-US" smtClean="0"/>
              <a:t>16</a:t>
            </a:fld>
            <a:endParaRPr kumimoji="1" lang="ja-JP" altLang="en-US"/>
          </a:p>
        </p:txBody>
      </p:sp>
    </p:spTree>
    <p:extLst>
      <p:ext uri="{BB962C8B-B14F-4D97-AF65-F5344CB8AC3E}">
        <p14:creationId xmlns:p14="http://schemas.microsoft.com/office/powerpoint/2010/main" val="33495947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a:t>年</a:t>
            </a:r>
            <a:r>
              <a:rPr kumimoji="1" lang="en-US" altLang="ja-JP"/>
              <a:t>2</a:t>
            </a:r>
            <a:r>
              <a:rPr kumimoji="1" lang="ja-JP" altLang="en-US"/>
              <a:t>回　予算と同じ</a:t>
            </a:r>
          </a:p>
        </p:txBody>
      </p:sp>
      <p:sp>
        <p:nvSpPr>
          <p:cNvPr id="4" name="スライド番号プレースホルダー 3"/>
          <p:cNvSpPr>
            <a:spLocks noGrp="1"/>
          </p:cNvSpPr>
          <p:nvPr>
            <p:ph type="sldNum" sz="quarter" idx="5"/>
          </p:nvPr>
        </p:nvSpPr>
        <p:spPr/>
        <p:txBody>
          <a:bodyPr/>
          <a:lstStyle/>
          <a:p>
            <a:fld id="{46972003-E179-5242-B859-48D964B99D31}" type="slidenum">
              <a:rPr kumimoji="1" lang="ja-JP" altLang="en-US" smtClean="0"/>
              <a:t>17</a:t>
            </a:fld>
            <a:endParaRPr kumimoji="1" lang="ja-JP" altLang="en-US"/>
          </a:p>
        </p:txBody>
      </p:sp>
    </p:spTree>
    <p:extLst>
      <p:ext uri="{BB962C8B-B14F-4D97-AF65-F5344CB8AC3E}">
        <p14:creationId xmlns:p14="http://schemas.microsoft.com/office/powerpoint/2010/main" val="1858282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7.xml"/><Relationship Id="rId4" Type="http://schemas.openxmlformats.org/officeDocument/2006/relationships/image" Target="../media/image46.pn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5.jpeg"/><Relationship Id="rId1" Type="http://schemas.openxmlformats.org/officeDocument/2006/relationships/slideMaster" Target="../slideMasters/slideMaster8.xml"/><Relationship Id="rId4" Type="http://schemas.openxmlformats.org/officeDocument/2006/relationships/image" Target="../media/image36.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18.jpe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48.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jpeg"/><Relationship Id="rId1" Type="http://schemas.openxmlformats.org/officeDocument/2006/relationships/slideMaster" Target="../slideMasters/slideMaster10.xml"/><Relationship Id="rId4" Type="http://schemas.openxmlformats.org/officeDocument/2006/relationships/image" Target="../media/image41.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 Id="rId4" Type="http://schemas.openxmlformats.org/officeDocument/2006/relationships/image" Target="../media/image46.pn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jpeg"/><Relationship Id="rId1" Type="http://schemas.openxmlformats.org/officeDocument/2006/relationships/slideMaster" Target="../slideMasters/slideMaster11.xml"/><Relationship Id="rId4" Type="http://schemas.openxmlformats.org/officeDocument/2006/relationships/image" Target="../media/image5.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1.xml"/><Relationship Id="rId5" Type="http://schemas.openxmlformats.org/officeDocument/2006/relationships/image" Target="../media/image5.png"/><Relationship Id="rId4" Type="http://schemas.openxmlformats.org/officeDocument/2006/relationships/image" Target="../media/image2.jpeg"/></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jpeg"/><Relationship Id="rId1" Type="http://schemas.openxmlformats.org/officeDocument/2006/relationships/slideMaster" Target="../slideMasters/slideMaster12.xml"/><Relationship Id="rId4" Type="http://schemas.openxmlformats.org/officeDocument/2006/relationships/image" Target="../media/image5.png"/></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2.xml"/><Relationship Id="rId5" Type="http://schemas.openxmlformats.org/officeDocument/2006/relationships/image" Target="../media/image5.png"/><Relationship Id="rId4" Type="http://schemas.openxmlformats.org/officeDocument/2006/relationships/image" Target="../media/image2.jpe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jpeg"/><Relationship Id="rId1" Type="http://schemas.openxmlformats.org/officeDocument/2006/relationships/slideMaster" Target="../slideMasters/slideMaster13.xml"/><Relationship Id="rId4" Type="http://schemas.openxmlformats.org/officeDocument/2006/relationships/image" Target="../media/image5.pn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50.png"/><Relationship Id="rId1" Type="http://schemas.openxmlformats.org/officeDocument/2006/relationships/slideMaster" Target="../slideMasters/slideMaster13.xml"/><Relationship Id="rId5" Type="http://schemas.openxmlformats.org/officeDocument/2006/relationships/image" Target="../media/image5.png"/><Relationship Id="rId4" Type="http://schemas.openxmlformats.org/officeDocument/2006/relationships/image" Target="../media/image2.jpeg"/></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jpeg"/><Relationship Id="rId1" Type="http://schemas.openxmlformats.org/officeDocument/2006/relationships/slideMaster" Target="../slideMasters/slideMaster1.xml"/><Relationship Id="rId5" Type="http://schemas.openxmlformats.org/officeDocument/2006/relationships/image" Target="../media/image19.jpg"/><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jpe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0.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33.png"/><Relationship Id="rId4"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5.jpeg"/><Relationship Id="rId1" Type="http://schemas.openxmlformats.org/officeDocument/2006/relationships/slideMaster" Target="../slideMasters/slideMaster3.xml"/><Relationship Id="rId4" Type="http://schemas.openxmlformats.org/officeDocument/2006/relationships/image" Target="../media/image36.pn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8.jpeg"/><Relationship Id="rId1" Type="http://schemas.openxmlformats.org/officeDocument/2006/relationships/slideMaster" Target="../slideMasters/slideMaster3.xml"/><Relationship Id="rId5" Type="http://schemas.openxmlformats.org/officeDocument/2006/relationships/image" Target="../media/image33.png"/><Relationship Id="rId4" Type="http://schemas.openxmlformats.org/officeDocument/2006/relationships/image" Target="../media/image5.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5.jpeg"/><Relationship Id="rId1" Type="http://schemas.openxmlformats.org/officeDocument/2006/relationships/slideMaster" Target="../slideMasters/slideMaster4.xml"/><Relationship Id="rId4" Type="http://schemas.openxmlformats.org/officeDocument/2006/relationships/image" Target="../media/image38.png"/></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40.jpeg"/><Relationship Id="rId1" Type="http://schemas.openxmlformats.org/officeDocument/2006/relationships/slideMaster" Target="../slideMasters/slideMaster5.xml"/><Relationship Id="rId4" Type="http://schemas.openxmlformats.org/officeDocument/2006/relationships/image" Target="../media/image41.pn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5.xml"/><Relationship Id="rId4" Type="http://schemas.openxmlformats.org/officeDocument/2006/relationships/image" Target="../media/image46.pn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5.jpeg"/><Relationship Id="rId1" Type="http://schemas.openxmlformats.org/officeDocument/2006/relationships/slideMaster" Target="../slideMasters/slideMaster6.xml"/><Relationship Id="rId4" Type="http://schemas.openxmlformats.org/officeDocument/2006/relationships/image" Target="../media/image36.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5.jpeg"/><Relationship Id="rId1" Type="http://schemas.openxmlformats.org/officeDocument/2006/relationships/slideMaster" Target="../slideMasters/slideMaster7.xml"/><Relationship Id="rId4" Type="http://schemas.openxmlformats.org/officeDocument/2006/relationships/image" Target="../media/image36.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10" name="グループ化 9">
            <a:extLst>
              <a:ext uri="{FF2B5EF4-FFF2-40B4-BE49-F238E27FC236}">
                <a16:creationId xmlns:a16="http://schemas.microsoft.com/office/drawing/2014/main" id="{FE878CA5-BB3C-CFFC-FC46-E75C6ACA9672}"/>
              </a:ext>
            </a:extLst>
          </p:cNvPr>
          <p:cNvGrpSpPr/>
          <p:nvPr userDrawn="1"/>
        </p:nvGrpSpPr>
        <p:grpSpPr>
          <a:xfrm>
            <a:off x="0" y="0"/>
            <a:ext cx="12192000" cy="6858367"/>
            <a:chOff x="0" y="0"/>
            <a:chExt cx="12192000" cy="6858367"/>
          </a:xfrm>
        </p:grpSpPr>
        <p:pic>
          <p:nvPicPr>
            <p:cNvPr id="8" name="図 7" descr="海に浮かぶ島&#10;&#10;中程度の精度で自動的に生成された説明">
              <a:extLst>
                <a:ext uri="{FF2B5EF4-FFF2-40B4-BE49-F238E27FC236}">
                  <a16:creationId xmlns:a16="http://schemas.microsoft.com/office/drawing/2014/main" id="{7AD09720-5340-4185-8D4B-3D6A5C04ADD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44A5D4B2-5D61-5257-161E-1C7F827EECF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タイトル 4">
            <a:extLst>
              <a:ext uri="{FF2B5EF4-FFF2-40B4-BE49-F238E27FC236}">
                <a16:creationId xmlns:a16="http://schemas.microsoft.com/office/drawing/2014/main" id="{875626D7-4887-F1FA-338B-F47563AFAB6E}"/>
              </a:ext>
            </a:extLst>
          </p:cNvPr>
          <p:cNvSpPr>
            <a:spLocks noGrp="1"/>
          </p:cNvSpPr>
          <p:nvPr>
            <p:ph type="title"/>
          </p:nvPr>
        </p:nvSpPr>
        <p:spPr>
          <a:xfrm>
            <a:off x="1684564" y="2419117"/>
            <a:ext cx="3286760" cy="329440"/>
          </a:xfrm>
        </p:spPr>
        <p:txBody>
          <a:bodyPr>
            <a:noAutofit/>
          </a:bodyPr>
          <a:lstStyle>
            <a:lvl1pPr algn="dist">
              <a:defRPr sz="2350">
                <a:solidFill>
                  <a:schemeClr val="bg1"/>
                </a:solidFill>
              </a:defRPr>
            </a:lvl1pPr>
          </a:lstStyle>
          <a:p>
            <a:r>
              <a:rPr kumimoji="1" lang="ja-JP" altLang="en-US"/>
              <a:t>マスター タイトルの書式設定</a:t>
            </a:r>
          </a:p>
        </p:txBody>
      </p:sp>
      <p:sp>
        <p:nvSpPr>
          <p:cNvPr id="11" name="object 12">
            <a:extLst>
              <a:ext uri="{FF2B5EF4-FFF2-40B4-BE49-F238E27FC236}">
                <a16:creationId xmlns:a16="http://schemas.microsoft.com/office/drawing/2014/main" id="{D0BA5559-566D-3309-2299-EA3C4CF672C7}"/>
              </a:ext>
            </a:extLst>
          </p:cNvPr>
          <p:cNvSpPr/>
          <p:nvPr userDrawn="1"/>
        </p:nvSpPr>
        <p:spPr>
          <a:xfrm>
            <a:off x="1684564" y="2057400"/>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12" name="object 13">
            <a:extLst>
              <a:ext uri="{FF2B5EF4-FFF2-40B4-BE49-F238E27FC236}">
                <a16:creationId xmlns:a16="http://schemas.microsoft.com/office/drawing/2014/main" id="{68B39601-C85A-73AD-177B-BF7080EA205B}"/>
              </a:ext>
            </a:extLst>
          </p:cNvPr>
          <p:cNvSpPr/>
          <p:nvPr userDrawn="1"/>
        </p:nvSpPr>
        <p:spPr>
          <a:xfrm>
            <a:off x="1684564" y="3661638"/>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pic>
        <p:nvPicPr>
          <p:cNvPr id="14" name="図 13">
            <a:extLst>
              <a:ext uri="{FF2B5EF4-FFF2-40B4-BE49-F238E27FC236}">
                <a16:creationId xmlns:a16="http://schemas.microsoft.com/office/drawing/2014/main" id="{CA1CD6DC-3462-9768-B509-70F9A2FEDDB7}"/>
              </a:ext>
            </a:extLst>
          </p:cNvPr>
          <p:cNvPicPr>
            <a:picLocks noChangeAspect="1"/>
          </p:cNvPicPr>
          <p:nvPr userDrawn="1"/>
        </p:nvPicPr>
        <p:blipFill>
          <a:blip r:embed="rId4"/>
          <a:stretch>
            <a:fillRect/>
          </a:stretch>
        </p:blipFill>
        <p:spPr>
          <a:xfrm>
            <a:off x="1684564" y="2961735"/>
            <a:ext cx="3286760" cy="238665"/>
          </a:xfrm>
          <a:prstGeom prst="rect">
            <a:avLst/>
          </a:prstGeom>
        </p:spPr>
      </p:pic>
      <p:sp>
        <p:nvSpPr>
          <p:cNvPr id="18" name="テキスト プレースホルダー 17">
            <a:extLst>
              <a:ext uri="{FF2B5EF4-FFF2-40B4-BE49-F238E27FC236}">
                <a16:creationId xmlns:a16="http://schemas.microsoft.com/office/drawing/2014/main" id="{76F91E0A-8FFF-3ECD-AB2D-D1E8D31EF34F}"/>
              </a:ext>
            </a:extLst>
          </p:cNvPr>
          <p:cNvSpPr>
            <a:spLocks noGrp="1"/>
          </p:cNvSpPr>
          <p:nvPr>
            <p:ph type="body" sz="quarter" idx="10"/>
          </p:nvPr>
        </p:nvSpPr>
        <p:spPr>
          <a:xfrm>
            <a:off x="1684565" y="1614143"/>
            <a:ext cx="3286759" cy="279049"/>
          </a:xfrm>
        </p:spPr>
        <p:txBody>
          <a:bodyPr>
            <a:noAutofit/>
          </a:bodyPr>
          <a:lstStyle>
            <a:lvl1pPr algn="ctr">
              <a:defRPr sz="1500">
                <a:solidFill>
                  <a:schemeClr val="bg1"/>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9" name="テキスト プレースホルダー 17">
            <a:extLst>
              <a:ext uri="{FF2B5EF4-FFF2-40B4-BE49-F238E27FC236}">
                <a16:creationId xmlns:a16="http://schemas.microsoft.com/office/drawing/2014/main" id="{355C1305-3A23-723A-2399-4989DA748861}"/>
              </a:ext>
            </a:extLst>
          </p:cNvPr>
          <p:cNvSpPr>
            <a:spLocks noGrp="1"/>
          </p:cNvSpPr>
          <p:nvPr>
            <p:ph type="body" sz="quarter" idx="11" hasCustomPrompt="1"/>
          </p:nvPr>
        </p:nvSpPr>
        <p:spPr>
          <a:xfrm>
            <a:off x="1684564" y="3874817"/>
            <a:ext cx="3286760" cy="147284"/>
          </a:xfrm>
        </p:spPr>
        <p:txBody>
          <a:bodyPr/>
          <a:lstStyle>
            <a:lvl1pPr algn="ctr">
              <a:defRPr sz="800" b="0" i="0" spc="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pic>
        <p:nvPicPr>
          <p:cNvPr id="6" name="図 5" descr="テキスト&#10;&#10;自動的に生成された説明">
            <a:extLst>
              <a:ext uri="{FF2B5EF4-FFF2-40B4-BE49-F238E27FC236}">
                <a16:creationId xmlns:a16="http://schemas.microsoft.com/office/drawing/2014/main" id="{217D0415-6D26-1C6B-6AD9-FA04F961721F}"/>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939113" y="4501149"/>
            <a:ext cx="777105" cy="509781"/>
          </a:xfrm>
          <a:prstGeom prst="rect">
            <a:avLst/>
          </a:prstGeom>
        </p:spPr>
      </p:pic>
    </p:spTree>
    <p:extLst>
      <p:ext uri="{BB962C8B-B14F-4D97-AF65-F5344CB8AC3E}">
        <p14:creationId xmlns:p14="http://schemas.microsoft.com/office/powerpoint/2010/main" val="281553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__2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2</a:t>
            </a:r>
          </a:p>
        </p:txBody>
      </p:sp>
      <p:pic>
        <p:nvPicPr>
          <p:cNvPr id="5" name="図 4">
            <a:extLst>
              <a:ext uri="{FF2B5EF4-FFF2-40B4-BE49-F238E27FC236}">
                <a16:creationId xmlns:a16="http://schemas.microsoft.com/office/drawing/2014/main" id="{7511F9E7-80FB-8420-D6CF-BAE1AEC5E63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34915645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
        <p:nvSpPr>
          <p:cNvPr id="7" name="テキスト プレースホルダー 23">
            <a:extLst>
              <a:ext uri="{FF2B5EF4-FFF2-40B4-BE49-F238E27FC236}">
                <a16:creationId xmlns:a16="http://schemas.microsoft.com/office/drawing/2014/main" id="{7CA73F3A-B4C6-B201-9FA1-F97E675551C3}"/>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3938146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sp>
        <p:nvSpPr>
          <p:cNvPr id="3" name="テキスト プレースホルダー 23">
            <a:extLst>
              <a:ext uri="{FF2B5EF4-FFF2-40B4-BE49-F238E27FC236}">
                <a16:creationId xmlns:a16="http://schemas.microsoft.com/office/drawing/2014/main" id="{8DDE5366-03EE-5B59-BAB0-F0E5131329CF}"/>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11" name="図 10">
            <a:extLst>
              <a:ext uri="{FF2B5EF4-FFF2-40B4-BE49-F238E27FC236}">
                <a16:creationId xmlns:a16="http://schemas.microsoft.com/office/drawing/2014/main" id="{8683DF97-5F12-4138-BBA6-DD3D7896631D}"/>
              </a:ext>
            </a:extLst>
          </p:cNvPr>
          <p:cNvPicPr>
            <a:picLocks noChangeAspect="1"/>
          </p:cNvPicPr>
          <p:nvPr userDrawn="1"/>
        </p:nvPicPr>
        <p:blipFill>
          <a:blip r:embed="rId2"/>
          <a:stretch>
            <a:fillRect/>
          </a:stretch>
        </p:blipFill>
        <p:spPr>
          <a:xfrm>
            <a:off x="0" y="0"/>
            <a:ext cx="877900" cy="877900"/>
          </a:xfrm>
          <a:prstGeom prst="rect">
            <a:avLst/>
          </a:prstGeom>
        </p:spPr>
      </p:pic>
    </p:spTree>
    <p:extLst>
      <p:ext uri="{BB962C8B-B14F-4D97-AF65-F5344CB8AC3E}">
        <p14:creationId xmlns:p14="http://schemas.microsoft.com/office/powerpoint/2010/main" val="25379898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Tree>
    <p:extLst>
      <p:ext uri="{BB962C8B-B14F-4D97-AF65-F5344CB8AC3E}">
        <p14:creationId xmlns:p14="http://schemas.microsoft.com/office/powerpoint/2010/main" val="153680754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2" name="図 1">
            <a:extLst>
              <a:ext uri="{FF2B5EF4-FFF2-40B4-BE49-F238E27FC236}">
                <a16:creationId xmlns:a16="http://schemas.microsoft.com/office/drawing/2014/main" id="{106F3F56-A881-A82C-BF83-0D97E885A606}"/>
              </a:ext>
            </a:extLst>
          </p:cNvPr>
          <p:cNvPicPr>
            <a:picLocks noChangeAspect="1"/>
          </p:cNvPicPr>
          <p:nvPr userDrawn="1"/>
        </p:nvPicPr>
        <p:blipFill>
          <a:blip r:embed="rId2"/>
          <a:stretch>
            <a:fillRect/>
          </a:stretch>
        </p:blipFill>
        <p:spPr>
          <a:xfrm>
            <a:off x="-12300" y="2099"/>
            <a:ext cx="876300" cy="876300"/>
          </a:xfrm>
          <a:prstGeom prst="rect">
            <a:avLst/>
          </a:prstGeom>
        </p:spPr>
      </p:pic>
    </p:spTree>
    <p:extLst>
      <p:ext uri="{BB962C8B-B14F-4D97-AF65-F5344CB8AC3E}">
        <p14:creationId xmlns:p14="http://schemas.microsoft.com/office/powerpoint/2010/main" val="34459814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38332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05993"/>
                </a:solidFill>
                <a:latin typeface="メイリオ"/>
                <a:cs typeface="メイリオ"/>
              </a:defRPr>
            </a:lvl1pPr>
          </a:lstStyle>
          <a:p>
            <a:endParaRPr/>
          </a:p>
        </p:txBody>
      </p:sp>
      <p:sp>
        <p:nvSpPr>
          <p:cNvPr id="3" name="Holder 3"/>
          <p:cNvSpPr>
            <a:spLocks noGrp="1"/>
          </p:cNvSpPr>
          <p:nvPr>
            <p:ph type="body" idx="1"/>
          </p:nvPr>
        </p:nvSpPr>
        <p:spPr/>
        <p:txBody>
          <a:bodyPr lIns="0" tIns="0" rIns="0" bIns="0"/>
          <a:lstStyle>
            <a:lvl1pPr>
              <a:defRPr sz="1400" b="0" i="0">
                <a:solidFill>
                  <a:srgbClr val="231F20"/>
                </a:solidFill>
                <a:latin typeface="メイリオ"/>
                <a:cs typeface="メイリオ"/>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000" b="0" i="0">
                <a:solidFill>
                  <a:srgbClr val="231F20"/>
                </a:solidFill>
                <a:latin typeface="メイリオ"/>
                <a:cs typeface="メイリオ"/>
              </a:defRPr>
            </a:lvl1pPr>
          </a:lstStyle>
          <a:p>
            <a:pPr marL="38100">
              <a:lnSpc>
                <a:spcPct val="100000"/>
              </a:lnSpc>
              <a:spcBef>
                <a:spcPts val="160"/>
              </a:spcBef>
            </a:pPr>
            <a:fld id="{81D60167-4931-47E6-BA6A-407CBD079E47}" type="slidenum">
              <a:rPr dirty="0"/>
              <a:t>‹#›</a:t>
            </a:fld>
            <a:endParaRPr/>
          </a:p>
        </p:txBody>
      </p:sp>
    </p:spTree>
    <p:extLst>
      <p:ext uri="{BB962C8B-B14F-4D97-AF65-F5344CB8AC3E}">
        <p14:creationId xmlns:p14="http://schemas.microsoft.com/office/powerpoint/2010/main" val="29070826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環境-本文">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E89808D-7571-94C1-05CE-F53BF713BB2E}"/>
              </a:ext>
            </a:extLst>
          </p:cNvPr>
          <p:cNvSpPr>
            <a:spLocks noGrp="1"/>
          </p:cNvSpPr>
          <p:nvPr>
            <p:ph type="sldNum" sz="quarter" idx="12"/>
          </p:nvPr>
        </p:nvSpPr>
        <p:spPr>
          <a:xfrm>
            <a:off x="9158197" y="6560001"/>
            <a:ext cx="2804160" cy="123111"/>
          </a:xfrm>
        </p:spPr>
        <p:txBody>
          <a:bodyPr/>
          <a:lstStyle>
            <a:lvl1pPr>
              <a:defRPr sz="8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pic>
        <p:nvPicPr>
          <p:cNvPr id="2" name="object 3">
            <a:extLst>
              <a:ext uri="{FF2B5EF4-FFF2-40B4-BE49-F238E27FC236}">
                <a16:creationId xmlns:a16="http://schemas.microsoft.com/office/drawing/2014/main" id="{F704B579-EB11-73A7-8A72-708317980408}"/>
              </a:ext>
            </a:extLst>
          </p:cNvPr>
          <p:cNvPicPr/>
          <p:nvPr userDrawn="1"/>
        </p:nvPicPr>
        <p:blipFill>
          <a:blip r:embed="rId2" cstate="print"/>
          <a:stretch>
            <a:fillRect/>
          </a:stretch>
        </p:blipFill>
        <p:spPr>
          <a:xfrm>
            <a:off x="0" y="6386004"/>
            <a:ext cx="12192000" cy="471995"/>
          </a:xfrm>
          <a:prstGeom prst="rect">
            <a:avLst/>
          </a:prstGeom>
        </p:spPr>
      </p:pic>
      <p:grpSp>
        <p:nvGrpSpPr>
          <p:cNvPr id="4" name="グループ化 3">
            <a:extLst>
              <a:ext uri="{FF2B5EF4-FFF2-40B4-BE49-F238E27FC236}">
                <a16:creationId xmlns:a16="http://schemas.microsoft.com/office/drawing/2014/main" id="{F45AF8F2-2209-C868-F7FA-F17A6F56F980}"/>
              </a:ext>
            </a:extLst>
          </p:cNvPr>
          <p:cNvGrpSpPr/>
          <p:nvPr userDrawn="1"/>
        </p:nvGrpSpPr>
        <p:grpSpPr>
          <a:xfrm>
            <a:off x="317500" y="6521700"/>
            <a:ext cx="3237782" cy="190734"/>
            <a:chOff x="317500" y="6521700"/>
            <a:chExt cx="3237782" cy="190734"/>
          </a:xfrm>
        </p:grpSpPr>
        <p:pic>
          <p:nvPicPr>
            <p:cNvPr id="15" name="図 14" descr="アイコン&#10;&#10;自動的に生成された説明">
              <a:extLst>
                <a:ext uri="{FF2B5EF4-FFF2-40B4-BE49-F238E27FC236}">
                  <a16:creationId xmlns:a16="http://schemas.microsoft.com/office/drawing/2014/main" id="{E04FA5DA-5C10-7444-B46C-68EE388CFB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16" name="テキスト ボックス 15">
              <a:extLst>
                <a:ext uri="{FF2B5EF4-FFF2-40B4-BE49-F238E27FC236}">
                  <a16:creationId xmlns:a16="http://schemas.microsoft.com/office/drawing/2014/main" id="{86C37E4C-8984-B00E-0DC2-B4B1779C578B}"/>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7" name="テキスト ボックス 16">
              <a:extLst>
                <a:ext uri="{FF2B5EF4-FFF2-40B4-BE49-F238E27FC236}">
                  <a16:creationId xmlns:a16="http://schemas.microsoft.com/office/drawing/2014/main" id="{F0A3FC6C-4A47-4B4C-1ACD-4EE4475C50B8}"/>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pic>
        <p:nvPicPr>
          <p:cNvPr id="6" name="object 2">
            <a:extLst>
              <a:ext uri="{FF2B5EF4-FFF2-40B4-BE49-F238E27FC236}">
                <a16:creationId xmlns:a16="http://schemas.microsoft.com/office/drawing/2014/main" id="{C3060FD8-050D-C325-3496-42BE68077429}"/>
              </a:ext>
            </a:extLst>
          </p:cNvPr>
          <p:cNvPicPr/>
          <p:nvPr userDrawn="1"/>
        </p:nvPicPr>
        <p:blipFill>
          <a:blip r:embed="rId4" cstate="print"/>
          <a:stretch>
            <a:fillRect/>
          </a:stretch>
        </p:blipFill>
        <p:spPr>
          <a:xfrm>
            <a:off x="0" y="0"/>
            <a:ext cx="878395" cy="878395"/>
          </a:xfrm>
          <a:prstGeom prst="rect">
            <a:avLst/>
          </a:prstGeom>
        </p:spPr>
      </p:pic>
      <p:sp>
        <p:nvSpPr>
          <p:cNvPr id="7" name="object 3">
            <a:extLst>
              <a:ext uri="{FF2B5EF4-FFF2-40B4-BE49-F238E27FC236}">
                <a16:creationId xmlns:a16="http://schemas.microsoft.com/office/drawing/2014/main" id="{A4DA333C-DC4C-6654-7D9E-32A9D44205BD}"/>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7F7F7F"/>
            </a:solidFill>
          </a:ln>
        </p:spPr>
        <p:txBody>
          <a:bodyPr wrap="square" lIns="0" tIns="0" rIns="0" bIns="0" rtlCol="0"/>
          <a:lstStyle/>
          <a:p>
            <a:endParaRPr/>
          </a:p>
        </p:txBody>
      </p:sp>
      <p:sp>
        <p:nvSpPr>
          <p:cNvPr id="8" name="スライド番号プレースホルダー 4">
            <a:extLst>
              <a:ext uri="{FF2B5EF4-FFF2-40B4-BE49-F238E27FC236}">
                <a16:creationId xmlns:a16="http://schemas.microsoft.com/office/drawing/2014/main" id="{C7B494B2-5AAD-532B-589C-629136B16585}"/>
              </a:ext>
            </a:extLst>
          </p:cNvPr>
          <p:cNvSpPr txBox="1">
            <a:spLocks/>
          </p:cNvSpPr>
          <p:nvPr userDrawn="1"/>
        </p:nvSpPr>
        <p:spPr>
          <a:xfrm>
            <a:off x="9144000" y="6540123"/>
            <a:ext cx="2804160" cy="153888"/>
          </a:xfrm>
          <a:prstGeom prst="rect">
            <a:avLst/>
          </a:prstGeom>
        </p:spPr>
        <p:txBody>
          <a:bodyPr vert="horz" lIns="91440" tIns="45720" rIns="91440" bIns="45720" rtlCol="0" anchor="ctr"/>
          <a:lstStyle>
            <a:defPPr>
              <a:defRPr kern="0"/>
            </a:defPPr>
            <a:lvl1pPr algn="r">
              <a:defRPr sz="10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Tree>
    <p:extLst>
      <p:ext uri="{BB962C8B-B14F-4D97-AF65-F5344CB8AC3E}">
        <p14:creationId xmlns:p14="http://schemas.microsoft.com/office/powerpoint/2010/main" val="4453095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D5872FB-3951-9C71-38D9-F95EAED20B9A}"/>
              </a:ext>
            </a:extLst>
          </p:cNvPr>
          <p:cNvGrpSpPr/>
          <p:nvPr userDrawn="1"/>
        </p:nvGrpSpPr>
        <p:grpSpPr>
          <a:xfrm>
            <a:off x="0" y="0"/>
            <a:ext cx="12192000" cy="6858367"/>
            <a:chOff x="0" y="0"/>
            <a:chExt cx="12192000" cy="6858367"/>
          </a:xfrm>
        </p:grpSpPr>
        <p:pic>
          <p:nvPicPr>
            <p:cNvPr id="3" name="図 2" descr="海に泳いでいる&#10;&#10;自動的に生成された説明">
              <a:extLst>
                <a:ext uri="{FF2B5EF4-FFF2-40B4-BE49-F238E27FC236}">
                  <a16:creationId xmlns:a16="http://schemas.microsoft.com/office/drawing/2014/main" id="{D9B0EA4F-C783-9247-58DA-5F17BC5CFB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73C7E1A5-FA5C-28A5-26B1-EB7814C40AC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object 3">
            <a:extLst>
              <a:ext uri="{FF2B5EF4-FFF2-40B4-BE49-F238E27FC236}">
                <a16:creationId xmlns:a16="http://schemas.microsoft.com/office/drawing/2014/main" id="{08321986-B0F2-CAF0-8DA8-3C3785466D4C}"/>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11" name="object 4">
            <a:extLst>
              <a:ext uri="{FF2B5EF4-FFF2-40B4-BE49-F238E27FC236}">
                <a16:creationId xmlns:a16="http://schemas.microsoft.com/office/drawing/2014/main" id="{4094AEAC-94BE-59D2-C4C0-F7B0EAFCA59C}"/>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2" name="タイトル 4">
            <a:extLst>
              <a:ext uri="{FF2B5EF4-FFF2-40B4-BE49-F238E27FC236}">
                <a16:creationId xmlns:a16="http://schemas.microsoft.com/office/drawing/2014/main" id="{43E8DDDD-185C-8D35-8446-E89B4AD64AB4}"/>
              </a:ext>
            </a:extLst>
          </p:cNvPr>
          <p:cNvSpPr>
            <a:spLocks noGrp="1"/>
          </p:cNvSpPr>
          <p:nvPr>
            <p:ph type="title"/>
          </p:nvPr>
        </p:nvSpPr>
        <p:spPr>
          <a:xfrm>
            <a:off x="1169488" y="2500011"/>
            <a:ext cx="4316912" cy="361637"/>
          </a:xfrm>
        </p:spPr>
        <p:txBody>
          <a:bodyPr>
            <a:noAutofit/>
          </a:bodyPr>
          <a:lstStyle>
            <a:lvl1pPr algn="ctr">
              <a:defRPr sz="2800" b="1" i="0">
                <a:solidFill>
                  <a:schemeClr val="tx1"/>
                </a:solidFill>
                <a:latin typeface="Yu Gothic" panose="020B0400000000000000" pitchFamily="34" charset="-128"/>
                <a:ea typeface="Yu Gothic" panose="020B0400000000000000" pitchFamily="34" charset="-128"/>
                <a:cs typeface="Arial" panose="020B0604020202020204" pitchFamily="34" charset="0"/>
              </a:defRPr>
            </a:lvl1pPr>
          </a:lstStyle>
          <a:p>
            <a:endParaRPr kumimoji="1" lang="ja-JP" altLang="en-US"/>
          </a:p>
        </p:txBody>
      </p:sp>
      <p:sp>
        <p:nvSpPr>
          <p:cNvPr id="13" name="テキスト プレースホルダー 22">
            <a:extLst>
              <a:ext uri="{FF2B5EF4-FFF2-40B4-BE49-F238E27FC236}">
                <a16:creationId xmlns:a16="http://schemas.microsoft.com/office/drawing/2014/main" id="{53B6E0EF-88A0-5373-4FA1-F8A2A149F742}"/>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Yu Gothic Medium" panose="020B0400000000000000" pitchFamily="34" charset="-128"/>
                <a:ea typeface="Yu Gothic Medium" panose="020B0400000000000000" pitchFamily="34" charset="-128"/>
              </a:defRPr>
            </a:lvl1pPr>
          </a:lstStyle>
          <a:p>
            <a:pPr lvl="0"/>
            <a:r>
              <a:rPr kumimoji="1" lang="ja-JP" altLang="en-US"/>
              <a:t>サブタイトル</a:t>
            </a:r>
          </a:p>
        </p:txBody>
      </p:sp>
      <p:sp>
        <p:nvSpPr>
          <p:cNvPr id="14" name="object 12">
            <a:extLst>
              <a:ext uri="{FF2B5EF4-FFF2-40B4-BE49-F238E27FC236}">
                <a16:creationId xmlns:a16="http://schemas.microsoft.com/office/drawing/2014/main" id="{940DBB74-7D85-5848-24BB-D8AD483FE4DF}"/>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5" name="object 13">
            <a:extLst>
              <a:ext uri="{FF2B5EF4-FFF2-40B4-BE49-F238E27FC236}">
                <a16:creationId xmlns:a16="http://schemas.microsoft.com/office/drawing/2014/main" id="{84B76BE8-FF9A-A21A-CC32-B674DFBFB0A0}"/>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6" name="テキスト プレースホルダー 17">
            <a:extLst>
              <a:ext uri="{FF2B5EF4-FFF2-40B4-BE49-F238E27FC236}">
                <a16:creationId xmlns:a16="http://schemas.microsoft.com/office/drawing/2014/main" id="{F5269317-7FFF-D43F-6B56-74DBA27C475A}"/>
              </a:ext>
            </a:extLst>
          </p:cNvPr>
          <p:cNvSpPr>
            <a:spLocks noGrp="1"/>
          </p:cNvSpPr>
          <p:nvPr>
            <p:ph type="body" sz="quarter" idx="13"/>
          </p:nvPr>
        </p:nvSpPr>
        <p:spPr>
          <a:xfrm>
            <a:off x="1169488" y="1553983"/>
            <a:ext cx="4316911" cy="279049"/>
          </a:xfrm>
        </p:spPr>
        <p:txBody>
          <a:bodyPr anchor="ctr" anchorCtr="0">
            <a:noAutofit/>
          </a:bodyPr>
          <a:lstStyle>
            <a:lvl1pPr algn="ctr">
              <a:defRPr sz="1800">
                <a:solidFill>
                  <a:schemeClr val="tx2"/>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7" name="テキスト プレースホルダー 17">
            <a:extLst>
              <a:ext uri="{FF2B5EF4-FFF2-40B4-BE49-F238E27FC236}">
                <a16:creationId xmlns:a16="http://schemas.microsoft.com/office/drawing/2014/main" id="{869145FC-15D3-07DD-F7BC-C8023E1C08AF}"/>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a:t>
            </a:r>
            <a:r>
              <a:rPr kumimoji="1" lang="ja-JP" altLang="en-US"/>
              <a:t>年</a:t>
            </a:r>
            <a:r>
              <a:rPr kumimoji="1" lang="en-US" altLang="ja-JP"/>
              <a:t>X</a:t>
            </a:r>
            <a:r>
              <a:rPr kumimoji="1" lang="ja-JP" altLang="en-US"/>
              <a:t>月</a:t>
            </a:r>
          </a:p>
        </p:txBody>
      </p:sp>
      <p:pic>
        <p:nvPicPr>
          <p:cNvPr id="2" name="図 1" descr="ロゴ&#10;&#10;自動的に生成された説明">
            <a:extLst>
              <a:ext uri="{FF2B5EF4-FFF2-40B4-BE49-F238E27FC236}">
                <a16:creationId xmlns:a16="http://schemas.microsoft.com/office/drawing/2014/main" id="{AAF6F365-9DA1-5556-986E-27916633AE9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886419" y="4470537"/>
            <a:ext cx="880182" cy="579160"/>
          </a:xfrm>
          <a:prstGeom prst="rect">
            <a:avLst/>
          </a:prstGeom>
        </p:spPr>
      </p:pic>
      <p:sp>
        <p:nvSpPr>
          <p:cNvPr id="18" name="スライド番号プレースホルダー 24">
            <a:extLst>
              <a:ext uri="{FF2B5EF4-FFF2-40B4-BE49-F238E27FC236}">
                <a16:creationId xmlns:a16="http://schemas.microsoft.com/office/drawing/2014/main" id="{8B6BEE22-8135-48D4-85F3-A3BA40EE26CB}"/>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59738115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
        <p:nvSpPr>
          <p:cNvPr id="7" name="テキスト プレースホルダー 23">
            <a:extLst>
              <a:ext uri="{FF2B5EF4-FFF2-40B4-BE49-F238E27FC236}">
                <a16:creationId xmlns:a16="http://schemas.microsoft.com/office/drawing/2014/main" id="{7CA73F3A-B4C6-B201-9FA1-F97E675551C3}"/>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5082528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sp>
        <p:nvSpPr>
          <p:cNvPr id="3" name="テキスト プレースホルダー 23">
            <a:extLst>
              <a:ext uri="{FF2B5EF4-FFF2-40B4-BE49-F238E27FC236}">
                <a16:creationId xmlns:a16="http://schemas.microsoft.com/office/drawing/2014/main" id="{8DDE5366-03EE-5B59-BAB0-F0E5131329CF}"/>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5" name="図 4">
            <a:extLst>
              <a:ext uri="{FF2B5EF4-FFF2-40B4-BE49-F238E27FC236}">
                <a16:creationId xmlns:a16="http://schemas.microsoft.com/office/drawing/2014/main" id="{68806AF5-5120-4F4C-BE01-71451BC90060}"/>
              </a:ext>
            </a:extLst>
          </p:cNvPr>
          <p:cNvPicPr>
            <a:picLocks noChangeAspect="1"/>
          </p:cNvPicPr>
          <p:nvPr userDrawn="1"/>
        </p:nvPicPr>
        <p:blipFill>
          <a:blip r:embed="rId2"/>
          <a:stretch>
            <a:fillRect/>
          </a:stretch>
        </p:blipFill>
        <p:spPr>
          <a:xfrm>
            <a:off x="0" y="499"/>
            <a:ext cx="877900" cy="877900"/>
          </a:xfrm>
          <a:prstGeom prst="rect">
            <a:avLst/>
          </a:prstGeom>
        </p:spPr>
      </p:pic>
    </p:spTree>
    <p:extLst>
      <p:ext uri="{BB962C8B-B14F-4D97-AF65-F5344CB8AC3E}">
        <p14:creationId xmlns:p14="http://schemas.microsoft.com/office/powerpoint/2010/main" val="3694346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__2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2</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3" name="図 2">
            <a:extLst>
              <a:ext uri="{FF2B5EF4-FFF2-40B4-BE49-F238E27FC236}">
                <a16:creationId xmlns:a16="http://schemas.microsoft.com/office/drawing/2014/main" id="{DDBD5AE7-B9FB-935E-99DF-C3FFEBF8276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108547732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Tree>
    <p:extLst>
      <p:ext uri="{BB962C8B-B14F-4D97-AF65-F5344CB8AC3E}">
        <p14:creationId xmlns:p14="http://schemas.microsoft.com/office/powerpoint/2010/main" val="525075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2" name="図 1">
            <a:extLst>
              <a:ext uri="{FF2B5EF4-FFF2-40B4-BE49-F238E27FC236}">
                <a16:creationId xmlns:a16="http://schemas.microsoft.com/office/drawing/2014/main" id="{106F3F56-A881-A82C-BF83-0D97E885A606}"/>
              </a:ext>
            </a:extLst>
          </p:cNvPr>
          <p:cNvPicPr>
            <a:picLocks noChangeAspect="1"/>
          </p:cNvPicPr>
          <p:nvPr userDrawn="1"/>
        </p:nvPicPr>
        <p:blipFill>
          <a:blip r:embed="rId2"/>
          <a:stretch>
            <a:fillRect/>
          </a:stretch>
        </p:blipFill>
        <p:spPr>
          <a:xfrm>
            <a:off x="-12300" y="2099"/>
            <a:ext cx="876300" cy="876300"/>
          </a:xfrm>
          <a:prstGeom prst="rect">
            <a:avLst/>
          </a:prstGeom>
        </p:spPr>
      </p:pic>
    </p:spTree>
    <p:extLst>
      <p:ext uri="{BB962C8B-B14F-4D97-AF65-F5344CB8AC3E}">
        <p14:creationId xmlns:p14="http://schemas.microsoft.com/office/powerpoint/2010/main" val="5378773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8112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05993"/>
                </a:solidFill>
                <a:latin typeface="メイリオ"/>
                <a:cs typeface="メイリオ"/>
              </a:defRPr>
            </a:lvl1pPr>
          </a:lstStyle>
          <a:p>
            <a:endParaRPr/>
          </a:p>
        </p:txBody>
      </p:sp>
      <p:sp>
        <p:nvSpPr>
          <p:cNvPr id="3" name="Holder 3"/>
          <p:cNvSpPr>
            <a:spLocks noGrp="1"/>
          </p:cNvSpPr>
          <p:nvPr>
            <p:ph type="body" idx="1"/>
          </p:nvPr>
        </p:nvSpPr>
        <p:spPr/>
        <p:txBody>
          <a:bodyPr lIns="0" tIns="0" rIns="0" bIns="0"/>
          <a:lstStyle>
            <a:lvl1pPr>
              <a:defRPr sz="1400" b="0" i="0">
                <a:solidFill>
                  <a:srgbClr val="231F20"/>
                </a:solidFill>
                <a:latin typeface="メイリオ"/>
                <a:cs typeface="メイリオ"/>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000" b="0" i="0">
                <a:solidFill>
                  <a:srgbClr val="231F20"/>
                </a:solidFill>
                <a:latin typeface="メイリオ"/>
                <a:cs typeface="メイリオ"/>
              </a:defRPr>
            </a:lvl1pPr>
          </a:lstStyle>
          <a:p>
            <a:pPr marL="38100">
              <a:lnSpc>
                <a:spcPct val="100000"/>
              </a:lnSpc>
              <a:spcBef>
                <a:spcPts val="160"/>
              </a:spcBef>
            </a:pPr>
            <a:fld id="{81D60167-4931-47E6-BA6A-407CBD079E47}" type="slidenum">
              <a:rPr dirty="0"/>
              <a:t>‹#›</a:t>
            </a:fld>
            <a:endParaRPr/>
          </a:p>
        </p:txBody>
      </p:sp>
    </p:spTree>
    <p:extLst>
      <p:ext uri="{BB962C8B-B14F-4D97-AF65-F5344CB8AC3E}">
        <p14:creationId xmlns:p14="http://schemas.microsoft.com/office/powerpoint/2010/main" val="89205878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34908D8-2D21-AC46-D7DE-B64652E241A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374F46A1-0617-7162-CBCD-F0187AB224E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pic>
        <p:nvPicPr>
          <p:cNvPr id="4" name="LOGO" descr="ロゴ&#10;&#10;自動的に生成された説明">
            <a:extLst>
              <a:ext uri="{FF2B5EF4-FFF2-40B4-BE49-F238E27FC236}">
                <a16:creationId xmlns:a16="http://schemas.microsoft.com/office/drawing/2014/main" id="{C9DDBD28-4A1D-B549-B659-E15C5845A8F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39114" y="4540937"/>
            <a:ext cx="777105" cy="400209"/>
          </a:xfrm>
          <a:prstGeom prst="rect">
            <a:avLst/>
          </a:prstGeom>
        </p:spPr>
      </p:pic>
      <p:sp>
        <p:nvSpPr>
          <p:cNvPr id="17" name="名前">
            <a:extLst>
              <a:ext uri="{FF2B5EF4-FFF2-40B4-BE49-F238E27FC236}">
                <a16:creationId xmlns:a16="http://schemas.microsoft.com/office/drawing/2014/main" id="{DE91B62D-7F9F-8DFC-A0F5-0D31A1841799}"/>
              </a:ext>
            </a:extLst>
          </p:cNvPr>
          <p:cNvSpPr>
            <a:spLocks noGrp="1"/>
          </p:cNvSpPr>
          <p:nvPr>
            <p:ph type="body" sz="quarter" idx="15" hasCustomPrompt="1"/>
          </p:nvPr>
        </p:nvSpPr>
        <p:spPr>
          <a:xfrm>
            <a:off x="1684563" y="4021027"/>
            <a:ext cx="3286760" cy="222690"/>
          </a:xfrm>
        </p:spPr>
        <p:txBody>
          <a:bodyPr/>
          <a:lstStyle>
            <a:lvl1pPr algn="ctr">
              <a:defRPr sz="1200">
                <a:solidFill>
                  <a:schemeClr val="bg1"/>
                </a:solidFill>
              </a:defRPr>
            </a:lvl1pPr>
          </a:lstStyle>
          <a:p>
            <a:pPr lvl="0"/>
            <a:r>
              <a:rPr kumimoji="1" lang="en-US" altLang="ja-JP"/>
              <a:t>Name</a:t>
            </a:r>
            <a:endParaRPr kumimoji="1" lang="ja-JP" altLang="en-US"/>
          </a:p>
        </p:txBody>
      </p:sp>
      <p:sp>
        <p:nvSpPr>
          <p:cNvPr id="18" name="部署">
            <a:extLst>
              <a:ext uri="{FF2B5EF4-FFF2-40B4-BE49-F238E27FC236}">
                <a16:creationId xmlns:a16="http://schemas.microsoft.com/office/drawing/2014/main" id="{6B6236CC-9EAA-4A0C-BF22-2D42F275492B}"/>
              </a:ext>
            </a:extLst>
          </p:cNvPr>
          <p:cNvSpPr>
            <a:spLocks noGrp="1"/>
          </p:cNvSpPr>
          <p:nvPr>
            <p:ph type="body" sz="quarter" idx="14" hasCustomPrompt="1"/>
          </p:nvPr>
        </p:nvSpPr>
        <p:spPr>
          <a:xfrm>
            <a:off x="1684563" y="3785903"/>
            <a:ext cx="3286760" cy="222690"/>
          </a:xfrm>
        </p:spPr>
        <p:txBody>
          <a:bodyPr/>
          <a:lstStyle>
            <a:lvl1pPr algn="ctr">
              <a:defRPr sz="1200">
                <a:solidFill>
                  <a:schemeClr val="bg1"/>
                </a:solidFill>
              </a:defRPr>
            </a:lvl1pPr>
          </a:lstStyle>
          <a:p>
            <a:pPr lvl="0"/>
            <a:r>
              <a:rPr kumimoji="1" lang="en-US" altLang="ja-JP"/>
              <a:t>Division</a:t>
            </a:r>
            <a:endParaRPr kumimoji="1" lang="ja-JP" altLang="en-US"/>
          </a:p>
        </p:txBody>
      </p:sp>
      <p:sp>
        <p:nvSpPr>
          <p:cNvPr id="19" name="日付">
            <a:extLst>
              <a:ext uri="{FF2B5EF4-FFF2-40B4-BE49-F238E27FC236}">
                <a16:creationId xmlns:a16="http://schemas.microsoft.com/office/drawing/2014/main" id="{3C4B6358-57C2-0890-38DB-E948C63C06BD}"/>
              </a:ext>
            </a:extLst>
          </p:cNvPr>
          <p:cNvSpPr>
            <a:spLocks noGrp="1"/>
          </p:cNvSpPr>
          <p:nvPr>
            <p:ph type="body" sz="quarter" idx="13"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20" name="メインタイトル">
            <a:extLst>
              <a:ext uri="{FF2B5EF4-FFF2-40B4-BE49-F238E27FC236}">
                <a16:creationId xmlns:a16="http://schemas.microsoft.com/office/drawing/2014/main" id="{40CC0620-BD14-3D8A-A1DA-0AC3012B591B}"/>
              </a:ext>
            </a:extLst>
          </p:cNvPr>
          <p:cNvSpPr>
            <a:spLocks noGrp="1"/>
          </p:cNvSpPr>
          <p:nvPr>
            <p:ph type="title" hasCustomPrompt="1"/>
          </p:nvPr>
        </p:nvSpPr>
        <p:spPr>
          <a:xfrm>
            <a:off x="1684564" y="1742505"/>
            <a:ext cx="3286760" cy="1604211"/>
          </a:xfrm>
        </p:spPr>
        <p:txBody>
          <a:bodyPr anchor="ctr" anchorCtr="1">
            <a:noAutofit/>
          </a:bodyPr>
          <a:lstStyle>
            <a:lvl1pPr algn="ctr">
              <a:defRPr sz="2200" b="1" i="0">
                <a:solidFill>
                  <a:schemeClr val="bg1"/>
                </a:solidFill>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itle text</a:t>
            </a:r>
            <a:br>
              <a:rPr kumimoji="1" lang="en-US" altLang="ja-JP"/>
            </a:br>
            <a:r>
              <a:rPr kumimoji="1" lang="en-US" altLang="ja-JP"/>
              <a:t>Title text</a:t>
            </a:r>
            <a:r>
              <a:rPr kumimoji="1" lang="ja-JP" altLang="en-US"/>
              <a:t> </a:t>
            </a:r>
          </a:p>
        </p:txBody>
      </p:sp>
      <p:sp>
        <p:nvSpPr>
          <p:cNvPr id="21" name="サブタイトル">
            <a:extLst>
              <a:ext uri="{FF2B5EF4-FFF2-40B4-BE49-F238E27FC236}">
                <a16:creationId xmlns:a16="http://schemas.microsoft.com/office/drawing/2014/main" id="{89FA2FD5-56A6-B2D9-BC63-D44F9AD3E4BB}"/>
              </a:ext>
            </a:extLst>
          </p:cNvPr>
          <p:cNvSpPr>
            <a:spLocks noGrp="1"/>
          </p:cNvSpPr>
          <p:nvPr>
            <p:ph type="body" sz="quarter" idx="10" hasCustomPrompt="1"/>
          </p:nvPr>
        </p:nvSpPr>
        <p:spPr>
          <a:xfrm>
            <a:off x="1684564" y="1299247"/>
            <a:ext cx="3286759" cy="279050"/>
          </a:xfrm>
        </p:spPr>
        <p:txBody>
          <a:bodyPr anchor="b" anchorCtr="0">
            <a:noAutofit/>
          </a:bodyPr>
          <a:lstStyle>
            <a:lvl1pPr algn="ctr">
              <a:lnSpc>
                <a:spcPct val="120000"/>
              </a:lnSpc>
              <a:spcBef>
                <a:spcPts val="0"/>
              </a:spcBef>
              <a:defRPr sz="1500" b="0" i="0">
                <a:solidFill>
                  <a:schemeClr val="bg1"/>
                </a:solidFill>
                <a:latin typeface="Segoe UI" panose="020B0502040204020203" pitchFamily="34" charset="0"/>
                <a:cs typeface="Segoe UI" panose="020B0502040204020203" pitchFamily="34" charset="0"/>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marL="14400" marR="0" lvl="0" indent="0" algn="ctr" defTabSz="914400" eaLnBrk="1" fontAlgn="auto" latinLnBrk="0" hangingPunct="1">
              <a:lnSpc>
                <a:spcPct val="130000"/>
              </a:lnSpc>
              <a:spcBef>
                <a:spcPts val="100"/>
              </a:spcBef>
              <a:spcAft>
                <a:spcPts val="0"/>
              </a:spcAft>
              <a:buClrTx/>
              <a:buSzTx/>
              <a:buFontTx/>
              <a:buNone/>
              <a:tabLst/>
              <a:defRPr/>
            </a:pPr>
            <a:r>
              <a:rPr kumimoji="1" lang="en-US" altLang="ja-JP"/>
              <a:t>Sample text Sample text</a:t>
            </a:r>
            <a:endParaRPr kumimoji="1" lang="ja-JP" altLang="en-US"/>
          </a:p>
        </p:txBody>
      </p:sp>
      <p:sp>
        <p:nvSpPr>
          <p:cNvPr id="5" name="object 13">
            <a:extLst>
              <a:ext uri="{FF2B5EF4-FFF2-40B4-BE49-F238E27FC236}">
                <a16:creationId xmlns:a16="http://schemas.microsoft.com/office/drawing/2014/main" id="{5B3C4D2C-E780-821E-5AB5-5D5CCBF07565}"/>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5BD419E3-5E77-1D20-BBA3-CEE8FCD81350}"/>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16380106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_B">
    <p:spTree>
      <p:nvGrpSpPr>
        <p:cNvPr id="1" name=""/>
        <p:cNvGrpSpPr/>
        <p:nvPr/>
      </p:nvGrpSpPr>
      <p:grpSpPr>
        <a:xfrm>
          <a:off x="0" y="0"/>
          <a:ext cx="0" cy="0"/>
          <a:chOff x="0" y="0"/>
          <a:chExt cx="0" cy="0"/>
        </a:xfrm>
      </p:grpSpPr>
      <p:pic>
        <p:nvPicPr>
          <p:cNvPr id="7" name="object 3">
            <a:extLst>
              <a:ext uri="{FF2B5EF4-FFF2-40B4-BE49-F238E27FC236}">
                <a16:creationId xmlns:a16="http://schemas.microsoft.com/office/drawing/2014/main" id="{852D91D9-CEFA-6183-771C-8DC7176942EE}"/>
              </a:ext>
            </a:extLst>
          </p:cNvPr>
          <p:cNvPicPr/>
          <p:nvPr userDrawn="1"/>
        </p:nvPicPr>
        <p:blipFill>
          <a:blip r:embed="rId2" cstate="print"/>
          <a:stretch>
            <a:fillRect/>
          </a:stretch>
        </p:blipFill>
        <p:spPr>
          <a:xfrm>
            <a:off x="0" y="945387"/>
            <a:ext cx="5842000" cy="4495228"/>
          </a:xfrm>
          <a:prstGeom prst="rect">
            <a:avLst/>
          </a:prstGeom>
        </p:spPr>
      </p:pic>
      <p:sp>
        <p:nvSpPr>
          <p:cNvPr id="8" name="object 4">
            <a:extLst>
              <a:ext uri="{FF2B5EF4-FFF2-40B4-BE49-F238E27FC236}">
                <a16:creationId xmlns:a16="http://schemas.microsoft.com/office/drawing/2014/main" id="{134DE87E-8606-29F6-436A-BC408CFA12E7}"/>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pic>
        <p:nvPicPr>
          <p:cNvPr id="3" name="図 2">
            <a:extLst>
              <a:ext uri="{FF2B5EF4-FFF2-40B4-BE49-F238E27FC236}">
                <a16:creationId xmlns:a16="http://schemas.microsoft.com/office/drawing/2014/main" id="{374F46A1-0617-7162-CBCD-F0187AB224E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pic>
        <p:nvPicPr>
          <p:cNvPr id="4" name="LOGO" descr="ロゴ&#10;&#10;自動的に生成された説明">
            <a:extLst>
              <a:ext uri="{FF2B5EF4-FFF2-40B4-BE49-F238E27FC236}">
                <a16:creationId xmlns:a16="http://schemas.microsoft.com/office/drawing/2014/main" id="{C9DDBD28-4A1D-B549-B659-E15C5845A8FF}"/>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939114" y="4540937"/>
            <a:ext cx="777105" cy="400209"/>
          </a:xfrm>
          <a:prstGeom prst="rect">
            <a:avLst/>
          </a:prstGeom>
        </p:spPr>
      </p:pic>
      <p:sp>
        <p:nvSpPr>
          <p:cNvPr id="17" name="名前">
            <a:extLst>
              <a:ext uri="{FF2B5EF4-FFF2-40B4-BE49-F238E27FC236}">
                <a16:creationId xmlns:a16="http://schemas.microsoft.com/office/drawing/2014/main" id="{DE91B62D-7F9F-8DFC-A0F5-0D31A1841799}"/>
              </a:ext>
            </a:extLst>
          </p:cNvPr>
          <p:cNvSpPr>
            <a:spLocks noGrp="1"/>
          </p:cNvSpPr>
          <p:nvPr>
            <p:ph type="body" sz="quarter" idx="15" hasCustomPrompt="1"/>
          </p:nvPr>
        </p:nvSpPr>
        <p:spPr>
          <a:xfrm>
            <a:off x="1684563" y="4021027"/>
            <a:ext cx="3286760" cy="222690"/>
          </a:xfrm>
        </p:spPr>
        <p:txBody>
          <a:bodyPr/>
          <a:lstStyle>
            <a:lvl1pPr algn="ctr">
              <a:defRPr sz="1200">
                <a:solidFill>
                  <a:schemeClr val="bg1"/>
                </a:solidFill>
              </a:defRPr>
            </a:lvl1pPr>
          </a:lstStyle>
          <a:p>
            <a:pPr lvl="0"/>
            <a:r>
              <a:rPr kumimoji="1" lang="en-US" altLang="ja-JP"/>
              <a:t>Name</a:t>
            </a:r>
            <a:endParaRPr kumimoji="1" lang="ja-JP" altLang="en-US"/>
          </a:p>
        </p:txBody>
      </p:sp>
      <p:sp>
        <p:nvSpPr>
          <p:cNvPr id="18" name="部署">
            <a:extLst>
              <a:ext uri="{FF2B5EF4-FFF2-40B4-BE49-F238E27FC236}">
                <a16:creationId xmlns:a16="http://schemas.microsoft.com/office/drawing/2014/main" id="{6B6236CC-9EAA-4A0C-BF22-2D42F275492B}"/>
              </a:ext>
            </a:extLst>
          </p:cNvPr>
          <p:cNvSpPr>
            <a:spLocks noGrp="1"/>
          </p:cNvSpPr>
          <p:nvPr>
            <p:ph type="body" sz="quarter" idx="14" hasCustomPrompt="1"/>
          </p:nvPr>
        </p:nvSpPr>
        <p:spPr>
          <a:xfrm>
            <a:off x="1684563" y="3785903"/>
            <a:ext cx="3286760" cy="222690"/>
          </a:xfrm>
        </p:spPr>
        <p:txBody>
          <a:bodyPr/>
          <a:lstStyle>
            <a:lvl1pPr algn="ctr">
              <a:defRPr sz="1200">
                <a:solidFill>
                  <a:schemeClr val="bg1"/>
                </a:solidFill>
              </a:defRPr>
            </a:lvl1pPr>
          </a:lstStyle>
          <a:p>
            <a:pPr lvl="0"/>
            <a:r>
              <a:rPr kumimoji="1" lang="en-US" altLang="ja-JP"/>
              <a:t>Division</a:t>
            </a:r>
            <a:endParaRPr kumimoji="1" lang="ja-JP" altLang="en-US"/>
          </a:p>
        </p:txBody>
      </p:sp>
      <p:sp>
        <p:nvSpPr>
          <p:cNvPr id="19" name="日付">
            <a:extLst>
              <a:ext uri="{FF2B5EF4-FFF2-40B4-BE49-F238E27FC236}">
                <a16:creationId xmlns:a16="http://schemas.microsoft.com/office/drawing/2014/main" id="{3C4B6358-57C2-0890-38DB-E948C63C06BD}"/>
              </a:ext>
            </a:extLst>
          </p:cNvPr>
          <p:cNvSpPr>
            <a:spLocks noGrp="1"/>
          </p:cNvSpPr>
          <p:nvPr>
            <p:ph type="body" sz="quarter" idx="13"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20" name="メインタイトル">
            <a:extLst>
              <a:ext uri="{FF2B5EF4-FFF2-40B4-BE49-F238E27FC236}">
                <a16:creationId xmlns:a16="http://schemas.microsoft.com/office/drawing/2014/main" id="{40CC0620-BD14-3D8A-A1DA-0AC3012B591B}"/>
              </a:ext>
            </a:extLst>
          </p:cNvPr>
          <p:cNvSpPr>
            <a:spLocks noGrp="1"/>
          </p:cNvSpPr>
          <p:nvPr>
            <p:ph type="title" hasCustomPrompt="1"/>
          </p:nvPr>
        </p:nvSpPr>
        <p:spPr>
          <a:xfrm>
            <a:off x="1684564" y="1742505"/>
            <a:ext cx="3286760" cy="1604211"/>
          </a:xfrm>
        </p:spPr>
        <p:txBody>
          <a:bodyPr anchor="ctr" anchorCtr="1">
            <a:noAutofit/>
          </a:bodyPr>
          <a:lstStyle>
            <a:lvl1pPr algn="ctr">
              <a:defRPr sz="2200" b="1" i="0">
                <a:solidFill>
                  <a:schemeClr val="bg1"/>
                </a:solidFill>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itle text</a:t>
            </a:r>
            <a:br>
              <a:rPr kumimoji="1" lang="en-US" altLang="ja-JP"/>
            </a:br>
            <a:r>
              <a:rPr kumimoji="1" lang="en-US" altLang="ja-JP"/>
              <a:t>Title text</a:t>
            </a:r>
            <a:r>
              <a:rPr kumimoji="1" lang="ja-JP" altLang="en-US"/>
              <a:t> </a:t>
            </a:r>
          </a:p>
        </p:txBody>
      </p:sp>
      <p:sp>
        <p:nvSpPr>
          <p:cNvPr id="21" name="サブタイトル">
            <a:extLst>
              <a:ext uri="{FF2B5EF4-FFF2-40B4-BE49-F238E27FC236}">
                <a16:creationId xmlns:a16="http://schemas.microsoft.com/office/drawing/2014/main" id="{89FA2FD5-56A6-B2D9-BC63-D44F9AD3E4BB}"/>
              </a:ext>
            </a:extLst>
          </p:cNvPr>
          <p:cNvSpPr>
            <a:spLocks noGrp="1"/>
          </p:cNvSpPr>
          <p:nvPr>
            <p:ph type="body" sz="quarter" idx="10" hasCustomPrompt="1"/>
          </p:nvPr>
        </p:nvSpPr>
        <p:spPr>
          <a:xfrm>
            <a:off x="1684564" y="1299247"/>
            <a:ext cx="3286759" cy="279050"/>
          </a:xfrm>
        </p:spPr>
        <p:txBody>
          <a:bodyPr anchor="b" anchorCtr="0">
            <a:noAutofit/>
          </a:bodyPr>
          <a:lstStyle>
            <a:lvl1pPr algn="ctr">
              <a:lnSpc>
                <a:spcPct val="120000"/>
              </a:lnSpc>
              <a:spcBef>
                <a:spcPts val="0"/>
              </a:spcBef>
              <a:defRPr sz="1500" b="0" i="0">
                <a:solidFill>
                  <a:schemeClr val="bg1"/>
                </a:solidFill>
                <a:latin typeface="Segoe UI" panose="020B0502040204020203" pitchFamily="34" charset="0"/>
                <a:cs typeface="Segoe UI" panose="020B0502040204020203" pitchFamily="34" charset="0"/>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marL="14400" marR="0" lvl="0" indent="0" algn="ctr" defTabSz="914400" eaLnBrk="1" fontAlgn="auto" latinLnBrk="0" hangingPunct="1">
              <a:lnSpc>
                <a:spcPct val="130000"/>
              </a:lnSpc>
              <a:spcBef>
                <a:spcPts val="100"/>
              </a:spcBef>
              <a:spcAft>
                <a:spcPts val="0"/>
              </a:spcAft>
              <a:buClrTx/>
              <a:buSzTx/>
              <a:buFontTx/>
              <a:buNone/>
              <a:tabLst/>
              <a:defRPr/>
            </a:pPr>
            <a:r>
              <a:rPr kumimoji="1" lang="en-US" altLang="ja-JP"/>
              <a:t>Sample text Sample text</a:t>
            </a:r>
            <a:endParaRPr kumimoji="1" lang="ja-JP" altLang="en-US"/>
          </a:p>
        </p:txBody>
      </p:sp>
      <p:sp>
        <p:nvSpPr>
          <p:cNvPr id="5" name="object 13">
            <a:extLst>
              <a:ext uri="{FF2B5EF4-FFF2-40B4-BE49-F238E27FC236}">
                <a16:creationId xmlns:a16="http://schemas.microsoft.com/office/drawing/2014/main" id="{5B3C4D2C-E780-821E-5AB5-5D5CCBF07565}"/>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5BD419E3-5E77-1D20-BBA3-CEE8FCD81350}"/>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24332468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genda_A">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8" name="本文">
            <a:extLst>
              <a:ext uri="{FF2B5EF4-FFF2-40B4-BE49-F238E27FC236}">
                <a16:creationId xmlns:a16="http://schemas.microsoft.com/office/drawing/2014/main" id="{7BCA38F4-41BE-BFC8-F4B4-A11FEDE5F3C2}"/>
              </a:ext>
            </a:extLst>
          </p:cNvPr>
          <p:cNvSpPr>
            <a:spLocks noGrp="1"/>
          </p:cNvSpPr>
          <p:nvPr>
            <p:ph type="body" sz="quarter" idx="13" hasCustomPrompt="1"/>
          </p:nvPr>
        </p:nvSpPr>
        <p:spPr>
          <a:xfrm>
            <a:off x="4920016" y="945389"/>
            <a:ext cx="6293325" cy="4495800"/>
          </a:xfrm>
        </p:spPr>
        <p:txBody>
          <a:bodyPr>
            <a:noAutofit/>
          </a:bodyPr>
          <a:lstStyle>
            <a:lvl1pPr marL="357300" indent="-342900">
              <a:spcAft>
                <a:spcPts val="1000"/>
              </a:spcAft>
              <a:buFont typeface="+mj-lt"/>
              <a:buAutoNum type="arabicPeriod"/>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marL="8001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2pPr>
            <a:lvl3pPr marL="12573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3pPr>
            <a:lvl4pPr marL="17145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4pPr>
            <a:lvl5pPr marL="21717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7" name="タイトル">
            <a:extLst>
              <a:ext uri="{FF2B5EF4-FFF2-40B4-BE49-F238E27FC236}">
                <a16:creationId xmlns:a16="http://schemas.microsoft.com/office/drawing/2014/main" id="{DF6AC0A1-ECE4-EBF0-B1B7-1F8D9A99A296}"/>
              </a:ext>
            </a:extLst>
          </p:cNvPr>
          <p:cNvSpPr>
            <a:spLocks noGrp="1"/>
          </p:cNvSpPr>
          <p:nvPr>
            <p:ph type="title" hasCustomPrompt="1"/>
          </p:nvPr>
        </p:nvSpPr>
        <p:spPr>
          <a:xfrm>
            <a:off x="1208101" y="945388"/>
            <a:ext cx="2994506" cy="4495800"/>
          </a:xfrm>
        </p:spPr>
        <p:txBody>
          <a:bodyPr anchor="ctr" anchorCtr="1">
            <a:noAutofit/>
          </a:bodyPr>
          <a:lstStyle>
            <a:lvl1pPr algn="ctr">
              <a:defRPr sz="2400" b="1" i="0" spc="0">
                <a:solidFill>
                  <a:schemeClr val="tx2"/>
                </a:solidFill>
                <a:latin typeface="Segoe UI" panose="020B0502040204020203" pitchFamily="34" charset="0"/>
                <a:ea typeface="Meiryo UI" panose="020B0604030504040204" pitchFamily="34" charset="-128"/>
                <a:cs typeface="Segoe UI" panose="020B0502040204020203" pitchFamily="34" charset="0"/>
              </a:defRPr>
            </a:lvl1pPr>
          </a:lstStyle>
          <a:p>
            <a:r>
              <a:rPr kumimoji="1" lang="en-US" altLang="ja-JP"/>
              <a:t>Title text</a:t>
            </a:r>
            <a:endParaRPr kumimoji="1" lang="ja-JP" altLang="en-US"/>
          </a:p>
        </p:txBody>
      </p:sp>
      <p:sp>
        <p:nvSpPr>
          <p:cNvPr id="2" name="object 2">
            <a:extLst>
              <a:ext uri="{FF2B5EF4-FFF2-40B4-BE49-F238E27FC236}">
                <a16:creationId xmlns:a16="http://schemas.microsoft.com/office/drawing/2014/main" id="{DE25391C-2E0E-590D-B1DD-F4EF0D64753E}"/>
              </a:ext>
            </a:extLst>
          </p:cNvPr>
          <p:cNvSpPr/>
          <p:nvPr userDrawn="1"/>
        </p:nvSpPr>
        <p:spPr>
          <a:xfrm>
            <a:off x="4571504" y="945388"/>
            <a:ext cx="25400" cy="4495800"/>
          </a:xfrm>
          <a:custGeom>
            <a:avLst/>
            <a:gdLst/>
            <a:ahLst/>
            <a:cxnLst/>
            <a:rect l="l" t="t" r="r" b="b"/>
            <a:pathLst>
              <a:path w="25400" h="4495800">
                <a:moveTo>
                  <a:pt x="25400" y="0"/>
                </a:moveTo>
                <a:lnTo>
                  <a:pt x="0" y="0"/>
                </a:lnTo>
                <a:lnTo>
                  <a:pt x="0" y="4495228"/>
                </a:lnTo>
                <a:lnTo>
                  <a:pt x="25400" y="4495228"/>
                </a:lnTo>
                <a:lnTo>
                  <a:pt x="25400" y="0"/>
                </a:lnTo>
                <a:close/>
              </a:path>
            </a:pathLst>
          </a:custGeom>
          <a:solidFill>
            <a:srgbClr val="0081CC"/>
          </a:solidFill>
        </p:spPr>
        <p:txBody>
          <a:bodyPr wrap="square" lIns="0" tIns="0" rIns="0" bIns="0" rtlCol="0"/>
          <a:lstStyle/>
          <a:p>
            <a:endParaRPr/>
          </a:p>
        </p:txBody>
      </p:sp>
      <p:pic>
        <p:nvPicPr>
          <p:cNvPr id="3" name="object 3">
            <a:extLst>
              <a:ext uri="{FF2B5EF4-FFF2-40B4-BE49-F238E27FC236}">
                <a16:creationId xmlns:a16="http://schemas.microsoft.com/office/drawing/2014/main" id="{CE2DDE68-6F47-F483-0E3E-AC7D21CCD86A}"/>
              </a:ext>
            </a:extLst>
          </p:cNvPr>
          <p:cNvPicPr/>
          <p:nvPr userDrawn="1"/>
        </p:nvPicPr>
        <p:blipFill>
          <a:blip r:embed="rId2" cstate="print"/>
          <a:stretch>
            <a:fillRect/>
          </a:stretch>
        </p:blipFill>
        <p:spPr>
          <a:xfrm>
            <a:off x="0" y="945387"/>
            <a:ext cx="813371" cy="4495228"/>
          </a:xfrm>
          <a:prstGeom prst="rect">
            <a:avLst/>
          </a:prstGeom>
        </p:spPr>
      </p:pic>
    </p:spTree>
    <p:extLst>
      <p:ext uri="{BB962C8B-B14F-4D97-AF65-F5344CB8AC3E}">
        <p14:creationId xmlns:p14="http://schemas.microsoft.com/office/powerpoint/2010/main" val="8717857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_B">
    <p:spTree>
      <p:nvGrpSpPr>
        <p:cNvPr id="1" name=""/>
        <p:cNvGrpSpPr/>
        <p:nvPr/>
      </p:nvGrpSpPr>
      <p:grpSpPr>
        <a:xfrm>
          <a:off x="0" y="0"/>
          <a:ext cx="0" cy="0"/>
          <a:chOff x="0" y="0"/>
          <a:chExt cx="0" cy="0"/>
        </a:xfrm>
      </p:grpSpPr>
      <p:pic>
        <p:nvPicPr>
          <p:cNvPr id="4" name="object 3">
            <a:extLst>
              <a:ext uri="{FF2B5EF4-FFF2-40B4-BE49-F238E27FC236}">
                <a16:creationId xmlns:a16="http://schemas.microsoft.com/office/drawing/2014/main" id="{0B28C733-ABC6-8325-278A-9873E4ADBEFC}"/>
              </a:ext>
            </a:extLst>
          </p:cNvPr>
          <p:cNvPicPr/>
          <p:nvPr userDrawn="1"/>
        </p:nvPicPr>
        <p:blipFill>
          <a:blip r:embed="rId2" cstate="print"/>
          <a:stretch>
            <a:fillRect/>
          </a:stretch>
        </p:blipFill>
        <p:spPr>
          <a:xfrm>
            <a:off x="813371" y="945387"/>
            <a:ext cx="3783533" cy="4495228"/>
          </a:xfrm>
          <a:prstGeom prst="rect">
            <a:avLst/>
          </a:prstGeom>
        </p:spPr>
      </p:pic>
      <p:sp>
        <p:nvSpPr>
          <p:cNvPr id="5" name="object 4">
            <a:extLst>
              <a:ext uri="{FF2B5EF4-FFF2-40B4-BE49-F238E27FC236}">
                <a16:creationId xmlns:a16="http://schemas.microsoft.com/office/drawing/2014/main" id="{F19F8921-59B8-9D74-7EA6-E2D97E6484C3}"/>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8" name="本文">
            <a:extLst>
              <a:ext uri="{FF2B5EF4-FFF2-40B4-BE49-F238E27FC236}">
                <a16:creationId xmlns:a16="http://schemas.microsoft.com/office/drawing/2014/main" id="{7BCA38F4-41BE-BFC8-F4B4-A11FEDE5F3C2}"/>
              </a:ext>
            </a:extLst>
          </p:cNvPr>
          <p:cNvSpPr>
            <a:spLocks noGrp="1"/>
          </p:cNvSpPr>
          <p:nvPr>
            <p:ph type="body" sz="quarter" idx="13" hasCustomPrompt="1"/>
          </p:nvPr>
        </p:nvSpPr>
        <p:spPr>
          <a:xfrm>
            <a:off x="4920016" y="945389"/>
            <a:ext cx="6293325" cy="4495800"/>
          </a:xfrm>
        </p:spPr>
        <p:txBody>
          <a:bodyPr>
            <a:noAutofit/>
          </a:bodyPr>
          <a:lstStyle>
            <a:lvl1pPr marL="357300" indent="-342900">
              <a:spcAft>
                <a:spcPts val="1000"/>
              </a:spcAft>
              <a:buFont typeface="+mj-lt"/>
              <a:buAutoNum type="arabicPeriod"/>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marL="8001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2pPr>
            <a:lvl3pPr marL="12573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3pPr>
            <a:lvl4pPr marL="17145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4pPr>
            <a:lvl5pPr marL="21717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7" name="タイトル">
            <a:extLst>
              <a:ext uri="{FF2B5EF4-FFF2-40B4-BE49-F238E27FC236}">
                <a16:creationId xmlns:a16="http://schemas.microsoft.com/office/drawing/2014/main" id="{DF6AC0A1-ECE4-EBF0-B1B7-1F8D9A99A296}"/>
              </a:ext>
            </a:extLst>
          </p:cNvPr>
          <p:cNvSpPr>
            <a:spLocks noGrp="1"/>
          </p:cNvSpPr>
          <p:nvPr>
            <p:ph type="title" hasCustomPrompt="1"/>
          </p:nvPr>
        </p:nvSpPr>
        <p:spPr>
          <a:xfrm>
            <a:off x="1208101" y="945388"/>
            <a:ext cx="2994506" cy="4495800"/>
          </a:xfrm>
        </p:spPr>
        <p:txBody>
          <a:bodyPr anchor="ctr" anchorCtr="1">
            <a:noAutofit/>
          </a:bodyPr>
          <a:lstStyle>
            <a:lvl1pPr algn="ctr">
              <a:defRPr sz="2400" b="1" i="0" spc="0">
                <a:solidFill>
                  <a:schemeClr val="bg1"/>
                </a:solidFill>
                <a:latin typeface="Segoe UI" panose="020B0502040204020203" pitchFamily="34" charset="0"/>
                <a:ea typeface="Meiryo UI" panose="020B0604030504040204" pitchFamily="34" charset="-128"/>
                <a:cs typeface="Segoe UI" panose="020B0502040204020203" pitchFamily="34" charset="0"/>
              </a:defRPr>
            </a:lvl1pPr>
          </a:lstStyle>
          <a:p>
            <a:r>
              <a:rPr kumimoji="1" lang="en-US" altLang="ja-JP"/>
              <a:t>Title text</a:t>
            </a:r>
            <a:endParaRPr kumimoji="1" lang="ja-JP" altLang="en-US"/>
          </a:p>
        </p:txBody>
      </p:sp>
    </p:spTree>
    <p:extLst>
      <p:ext uri="{BB962C8B-B14F-4D97-AF65-F5344CB8AC3E}">
        <p14:creationId xmlns:p14="http://schemas.microsoft.com/office/powerpoint/2010/main" val="212649584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side Cover_A">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7" name="タイトル">
            <a:extLst>
              <a:ext uri="{FF2B5EF4-FFF2-40B4-BE49-F238E27FC236}">
                <a16:creationId xmlns:a16="http://schemas.microsoft.com/office/drawing/2014/main" id="{DF6AC0A1-ECE4-EBF0-B1B7-1F8D9A99A296}"/>
              </a:ext>
            </a:extLst>
          </p:cNvPr>
          <p:cNvSpPr>
            <a:spLocks noGrp="1"/>
          </p:cNvSpPr>
          <p:nvPr>
            <p:ph type="title" hasCustomPrompt="1"/>
          </p:nvPr>
        </p:nvSpPr>
        <p:spPr>
          <a:xfrm>
            <a:off x="1194371" y="970788"/>
            <a:ext cx="4648200" cy="4445000"/>
          </a:xfrm>
        </p:spPr>
        <p:txBody>
          <a:bodyPr anchor="ctr" anchorCtr="0">
            <a:noAutofit/>
          </a:bodyPr>
          <a:lstStyle>
            <a:lvl1pPr algn="l">
              <a:defRPr sz="2400" b="1" i="0" spc="0">
                <a:solidFill>
                  <a:schemeClr val="tx2"/>
                </a:solidFill>
                <a:latin typeface="Segoe UI" panose="020B0502040204020203" pitchFamily="34" charset="0"/>
                <a:ea typeface="Meiryo UI" panose="020B0604030504040204" pitchFamily="34" charset="-128"/>
                <a:cs typeface="Segoe UI" panose="020B0502040204020203" pitchFamily="34" charset="0"/>
              </a:defRPr>
            </a:lvl1pPr>
          </a:lstStyle>
          <a:p>
            <a:r>
              <a:rPr kumimoji="1" lang="en-US" altLang="ja-JP"/>
              <a:t>Title text</a:t>
            </a:r>
            <a:endParaRPr kumimoji="1" lang="ja-JP" altLang="en-US"/>
          </a:p>
        </p:txBody>
      </p:sp>
      <p:pic>
        <p:nvPicPr>
          <p:cNvPr id="2" name="object 2">
            <a:extLst>
              <a:ext uri="{FF2B5EF4-FFF2-40B4-BE49-F238E27FC236}">
                <a16:creationId xmlns:a16="http://schemas.microsoft.com/office/drawing/2014/main" id="{D20D6696-DEC6-B40B-1340-62FFF1847061}"/>
              </a:ext>
            </a:extLst>
          </p:cNvPr>
          <p:cNvPicPr/>
          <p:nvPr userDrawn="1"/>
        </p:nvPicPr>
        <p:blipFill>
          <a:blip r:embed="rId2" cstate="print"/>
          <a:stretch>
            <a:fillRect/>
          </a:stretch>
        </p:blipFill>
        <p:spPr>
          <a:xfrm>
            <a:off x="0" y="945387"/>
            <a:ext cx="813371" cy="4495228"/>
          </a:xfrm>
          <a:prstGeom prst="rect">
            <a:avLst/>
          </a:prstGeom>
        </p:spPr>
      </p:pic>
      <p:sp>
        <p:nvSpPr>
          <p:cNvPr id="3" name="object 3">
            <a:extLst>
              <a:ext uri="{FF2B5EF4-FFF2-40B4-BE49-F238E27FC236}">
                <a16:creationId xmlns:a16="http://schemas.microsoft.com/office/drawing/2014/main" id="{22D38394-0E9B-BF4A-F9EA-2A49C3D1BFF6}"/>
              </a:ext>
            </a:extLst>
          </p:cNvPr>
          <p:cNvSpPr/>
          <p:nvPr userDrawn="1"/>
        </p:nvSpPr>
        <p:spPr>
          <a:xfrm>
            <a:off x="1194371" y="945388"/>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
        <p:nvSpPr>
          <p:cNvPr id="4" name="object 4">
            <a:extLst>
              <a:ext uri="{FF2B5EF4-FFF2-40B4-BE49-F238E27FC236}">
                <a16:creationId xmlns:a16="http://schemas.microsoft.com/office/drawing/2014/main" id="{6F93204D-81CD-E3F0-78BB-3A14A5816653}"/>
              </a:ext>
            </a:extLst>
          </p:cNvPr>
          <p:cNvSpPr/>
          <p:nvPr userDrawn="1"/>
        </p:nvSpPr>
        <p:spPr>
          <a:xfrm>
            <a:off x="1194371" y="5415216"/>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Tree>
    <p:extLst>
      <p:ext uri="{BB962C8B-B14F-4D97-AF65-F5344CB8AC3E}">
        <p14:creationId xmlns:p14="http://schemas.microsoft.com/office/powerpoint/2010/main" val="20583266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side Cover_B">
    <p:spTree>
      <p:nvGrpSpPr>
        <p:cNvPr id="1" name=""/>
        <p:cNvGrpSpPr/>
        <p:nvPr/>
      </p:nvGrpSpPr>
      <p:grpSpPr>
        <a:xfrm>
          <a:off x="0" y="0"/>
          <a:ext cx="0" cy="0"/>
          <a:chOff x="0" y="0"/>
          <a:chExt cx="0" cy="0"/>
        </a:xfrm>
      </p:grpSpPr>
      <p:pic>
        <p:nvPicPr>
          <p:cNvPr id="6" name="object 3">
            <a:extLst>
              <a:ext uri="{FF2B5EF4-FFF2-40B4-BE49-F238E27FC236}">
                <a16:creationId xmlns:a16="http://schemas.microsoft.com/office/drawing/2014/main" id="{7325A044-816D-2FDA-8C50-81FD82FC2932}"/>
              </a:ext>
            </a:extLst>
          </p:cNvPr>
          <p:cNvPicPr/>
          <p:nvPr userDrawn="1"/>
        </p:nvPicPr>
        <p:blipFill>
          <a:blip r:embed="rId2" cstate="print"/>
          <a:stretch>
            <a:fillRect/>
          </a:stretch>
        </p:blipFill>
        <p:spPr>
          <a:xfrm>
            <a:off x="813371" y="945388"/>
            <a:ext cx="5028628" cy="4495228"/>
          </a:xfrm>
          <a:prstGeom prst="rect">
            <a:avLst/>
          </a:prstGeom>
        </p:spPr>
      </p:pic>
      <p:sp>
        <p:nvSpPr>
          <p:cNvPr id="8" name="object 4">
            <a:extLst>
              <a:ext uri="{FF2B5EF4-FFF2-40B4-BE49-F238E27FC236}">
                <a16:creationId xmlns:a16="http://schemas.microsoft.com/office/drawing/2014/main" id="{E1A8333A-10C5-504F-0104-3B6A5E91ADDA}"/>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7" name="タイトル">
            <a:extLst>
              <a:ext uri="{FF2B5EF4-FFF2-40B4-BE49-F238E27FC236}">
                <a16:creationId xmlns:a16="http://schemas.microsoft.com/office/drawing/2014/main" id="{DF6AC0A1-ECE4-EBF0-B1B7-1F8D9A99A296}"/>
              </a:ext>
            </a:extLst>
          </p:cNvPr>
          <p:cNvSpPr>
            <a:spLocks noGrp="1"/>
          </p:cNvSpPr>
          <p:nvPr>
            <p:ph type="title" hasCustomPrompt="1"/>
          </p:nvPr>
        </p:nvSpPr>
        <p:spPr>
          <a:xfrm>
            <a:off x="1194371" y="970788"/>
            <a:ext cx="4266913" cy="4445000"/>
          </a:xfrm>
        </p:spPr>
        <p:txBody>
          <a:bodyPr anchor="ctr" anchorCtr="0">
            <a:noAutofit/>
          </a:bodyPr>
          <a:lstStyle>
            <a:lvl1pPr algn="l">
              <a:defRPr sz="2400" b="1" i="0" spc="0">
                <a:solidFill>
                  <a:schemeClr val="bg1"/>
                </a:solidFill>
                <a:latin typeface="Segoe UI" panose="020B0502040204020203" pitchFamily="34" charset="0"/>
                <a:ea typeface="Meiryo UI" panose="020B0604030504040204" pitchFamily="34" charset="-128"/>
                <a:cs typeface="Segoe UI" panose="020B0502040204020203" pitchFamily="34" charset="0"/>
              </a:defRPr>
            </a:lvl1pPr>
          </a:lstStyle>
          <a:p>
            <a:r>
              <a:rPr kumimoji="1" lang="en-US" altLang="ja-JP"/>
              <a:t>Title text</a:t>
            </a:r>
            <a:endParaRPr kumimoji="1" lang="ja-JP" altLang="en-US"/>
          </a:p>
        </p:txBody>
      </p:sp>
    </p:spTree>
    <p:extLst>
      <p:ext uri="{BB962C8B-B14F-4D97-AF65-F5344CB8AC3E}">
        <p14:creationId xmlns:p14="http://schemas.microsoft.com/office/powerpoint/2010/main" val="4449997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__3_タイトル1段">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59EAD3AE-2EF7-AF6F-307E-47EB93A35DA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3</a:t>
            </a:r>
          </a:p>
        </p:txBody>
      </p:sp>
    </p:spTree>
    <p:extLst>
      <p:ext uri="{BB962C8B-B14F-4D97-AF65-F5344CB8AC3E}">
        <p14:creationId xmlns:p14="http://schemas.microsoft.com/office/powerpoint/2010/main" val="53998132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dy wirh Number_BAM">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5" name="本文">
            <a:extLst>
              <a:ext uri="{FF2B5EF4-FFF2-40B4-BE49-F238E27FC236}">
                <a16:creationId xmlns:a16="http://schemas.microsoft.com/office/drawing/2014/main" id="{A3306673-5D8E-18CA-35ED-26F0E7522503}"/>
              </a:ext>
            </a:extLst>
          </p:cNvPr>
          <p:cNvSpPr>
            <a:spLocks noGrp="1"/>
          </p:cNvSpPr>
          <p:nvPr>
            <p:ph type="body" sz="quarter" idx="11" hasCustomPrompt="1"/>
          </p:nvPr>
        </p:nvSpPr>
        <p:spPr>
          <a:xfrm>
            <a:off x="977900" y="1021361"/>
            <a:ext cx="10235442" cy="5166915"/>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a:extLst>
              <a:ext uri="{FF2B5EF4-FFF2-40B4-BE49-F238E27FC236}">
                <a16:creationId xmlns:a16="http://schemas.microsoft.com/office/drawing/2014/main" id="{15CE4436-A8BD-3424-5B75-1ECBFCD1FF3D}"/>
              </a:ext>
            </a:extLst>
          </p:cNvPr>
          <p:cNvSpPr>
            <a:spLocks noGrp="1"/>
          </p:cNvSpPr>
          <p:nvPr>
            <p:ph type="title" hasCustomPrompt="1"/>
          </p:nvPr>
        </p:nvSpPr>
        <p:spPr>
          <a:xfrm>
            <a:off x="978658" y="27502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2" name="ナンバー">
            <a:extLst>
              <a:ext uri="{FF2B5EF4-FFF2-40B4-BE49-F238E27FC236}">
                <a16:creationId xmlns:a16="http://schemas.microsoft.com/office/drawing/2014/main" id="{4151988A-B2B4-8AB6-7412-6920A9F45684}"/>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3" name="BAM_LOGO" descr="アイコン&#10;&#10;自動的に生成された説明">
            <a:extLst>
              <a:ext uri="{FF2B5EF4-FFF2-40B4-BE49-F238E27FC236}">
                <a16:creationId xmlns:a16="http://schemas.microsoft.com/office/drawing/2014/main" id="{5F2F927B-C877-A947-2B15-3DE793A1AF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214100" y="0"/>
            <a:ext cx="977900" cy="889000"/>
          </a:xfrm>
          <a:prstGeom prst="rect">
            <a:avLst/>
          </a:prstGeom>
        </p:spPr>
      </p:pic>
    </p:spTree>
    <p:extLst>
      <p:ext uri="{BB962C8B-B14F-4D97-AF65-F5344CB8AC3E}">
        <p14:creationId xmlns:p14="http://schemas.microsoft.com/office/powerpoint/2010/main" val="28530647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ody with Number">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5" name="本文">
            <a:extLst>
              <a:ext uri="{FF2B5EF4-FFF2-40B4-BE49-F238E27FC236}">
                <a16:creationId xmlns:a16="http://schemas.microsoft.com/office/drawing/2014/main" id="{A3306673-5D8E-18CA-35ED-26F0E7522503}"/>
              </a:ext>
            </a:extLst>
          </p:cNvPr>
          <p:cNvSpPr>
            <a:spLocks noGrp="1"/>
          </p:cNvSpPr>
          <p:nvPr>
            <p:ph type="body" sz="quarter" idx="11" hasCustomPrompt="1"/>
          </p:nvPr>
        </p:nvSpPr>
        <p:spPr>
          <a:xfrm>
            <a:off x="977900" y="1021361"/>
            <a:ext cx="10235442" cy="5166915"/>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a:extLst>
              <a:ext uri="{FF2B5EF4-FFF2-40B4-BE49-F238E27FC236}">
                <a16:creationId xmlns:a16="http://schemas.microsoft.com/office/drawing/2014/main" id="{15CE4436-A8BD-3424-5B75-1ECBFCD1FF3D}"/>
              </a:ext>
            </a:extLst>
          </p:cNvPr>
          <p:cNvSpPr>
            <a:spLocks noGrp="1"/>
          </p:cNvSpPr>
          <p:nvPr>
            <p:ph type="title" hasCustomPrompt="1"/>
          </p:nvPr>
        </p:nvSpPr>
        <p:spPr>
          <a:xfrm>
            <a:off x="978658" y="27502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2" name="ナンバー">
            <a:extLst>
              <a:ext uri="{FF2B5EF4-FFF2-40B4-BE49-F238E27FC236}">
                <a16:creationId xmlns:a16="http://schemas.microsoft.com/office/drawing/2014/main" id="{4151988A-B2B4-8AB6-7412-6920A9F45684}"/>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169298400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ody_BAM">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 name="本文">
            <a:extLst>
              <a:ext uri="{FF2B5EF4-FFF2-40B4-BE49-F238E27FC236}">
                <a16:creationId xmlns:a16="http://schemas.microsoft.com/office/drawing/2014/main" id="{17CCF123-6C01-40BE-D981-AAD883DC8874}"/>
              </a:ext>
            </a:extLst>
          </p:cNvPr>
          <p:cNvSpPr>
            <a:spLocks noGrp="1"/>
          </p:cNvSpPr>
          <p:nvPr>
            <p:ph type="body" sz="quarter" idx="11" hasCustomPrompt="1"/>
          </p:nvPr>
        </p:nvSpPr>
        <p:spPr>
          <a:xfrm>
            <a:off x="977900" y="1021361"/>
            <a:ext cx="10235442" cy="5166915"/>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3" name="タイトル">
            <a:extLst>
              <a:ext uri="{FF2B5EF4-FFF2-40B4-BE49-F238E27FC236}">
                <a16:creationId xmlns:a16="http://schemas.microsoft.com/office/drawing/2014/main" id="{A50B6BB7-7491-9688-EC1D-E57AC531FFE7}"/>
              </a:ext>
            </a:extLst>
          </p:cNvPr>
          <p:cNvSpPr>
            <a:spLocks noGrp="1"/>
          </p:cNvSpPr>
          <p:nvPr>
            <p:ph type="title" hasCustomPrompt="1"/>
          </p:nvPr>
        </p:nvSpPr>
        <p:spPr>
          <a:xfrm>
            <a:off x="978658" y="27502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pic>
        <p:nvPicPr>
          <p:cNvPr id="5" name="BAM_LOGO" descr="アイコン&#10;&#10;自動的に生成された説明">
            <a:extLst>
              <a:ext uri="{FF2B5EF4-FFF2-40B4-BE49-F238E27FC236}">
                <a16:creationId xmlns:a16="http://schemas.microsoft.com/office/drawing/2014/main" id="{6D40972B-3DF6-8546-F669-8FCF102CC2BB}"/>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214100" y="0"/>
            <a:ext cx="977900" cy="889000"/>
          </a:xfrm>
          <a:prstGeom prst="rect">
            <a:avLst/>
          </a:prstGeom>
        </p:spPr>
      </p:pic>
    </p:spTree>
    <p:extLst>
      <p:ext uri="{BB962C8B-B14F-4D97-AF65-F5344CB8AC3E}">
        <p14:creationId xmlns:p14="http://schemas.microsoft.com/office/powerpoint/2010/main" val="112963409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ody">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 name="本文">
            <a:extLst>
              <a:ext uri="{FF2B5EF4-FFF2-40B4-BE49-F238E27FC236}">
                <a16:creationId xmlns:a16="http://schemas.microsoft.com/office/drawing/2014/main" id="{17CCF123-6C01-40BE-D981-AAD883DC8874}"/>
              </a:ext>
            </a:extLst>
          </p:cNvPr>
          <p:cNvSpPr>
            <a:spLocks noGrp="1"/>
          </p:cNvSpPr>
          <p:nvPr>
            <p:ph type="body" sz="quarter" idx="11" hasCustomPrompt="1"/>
          </p:nvPr>
        </p:nvSpPr>
        <p:spPr>
          <a:xfrm>
            <a:off x="977900" y="1021361"/>
            <a:ext cx="10235442" cy="5166915"/>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3" name="タイトル">
            <a:extLst>
              <a:ext uri="{FF2B5EF4-FFF2-40B4-BE49-F238E27FC236}">
                <a16:creationId xmlns:a16="http://schemas.microsoft.com/office/drawing/2014/main" id="{A50B6BB7-7491-9688-EC1D-E57AC531FFE7}"/>
              </a:ext>
            </a:extLst>
          </p:cNvPr>
          <p:cNvSpPr>
            <a:spLocks noGrp="1"/>
          </p:cNvSpPr>
          <p:nvPr>
            <p:ph type="title" hasCustomPrompt="1"/>
          </p:nvPr>
        </p:nvSpPr>
        <p:spPr>
          <a:xfrm>
            <a:off x="978658" y="27502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169613611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_BAM">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pic>
        <p:nvPicPr>
          <p:cNvPr id="2" name="BAM_LOGO" descr="アイコン&#10;&#10;自動的に生成された説明">
            <a:extLst>
              <a:ext uri="{FF2B5EF4-FFF2-40B4-BE49-F238E27FC236}">
                <a16:creationId xmlns:a16="http://schemas.microsoft.com/office/drawing/2014/main" id="{7B2B1D2C-ACDB-D8A2-F26B-654ACF631BB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214100" y="0"/>
            <a:ext cx="977900" cy="889000"/>
          </a:xfrm>
          <a:prstGeom prst="rect">
            <a:avLst/>
          </a:prstGeom>
        </p:spPr>
      </p:pic>
    </p:spTree>
    <p:extLst>
      <p:ext uri="{BB962C8B-B14F-4D97-AF65-F5344CB8AC3E}">
        <p14:creationId xmlns:p14="http://schemas.microsoft.com/office/powerpoint/2010/main" val="166314537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本文_白紙">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Tree>
    <p:extLst>
      <p:ext uri="{BB962C8B-B14F-4D97-AF65-F5344CB8AC3E}">
        <p14:creationId xmlns:p14="http://schemas.microsoft.com/office/powerpoint/2010/main" val="414365061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538436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D5872FB-3951-9C71-38D9-F95EAED20B9A}"/>
              </a:ext>
            </a:extLst>
          </p:cNvPr>
          <p:cNvGrpSpPr/>
          <p:nvPr userDrawn="1"/>
        </p:nvGrpSpPr>
        <p:grpSpPr>
          <a:xfrm>
            <a:off x="0" y="0"/>
            <a:ext cx="12192000" cy="6858367"/>
            <a:chOff x="0" y="0"/>
            <a:chExt cx="12192000" cy="6858367"/>
          </a:xfrm>
        </p:grpSpPr>
        <p:pic>
          <p:nvPicPr>
            <p:cNvPr id="3" name="図 2" descr="海に泳いでいる&#10;&#10;自動的に生成された説明">
              <a:extLst>
                <a:ext uri="{FF2B5EF4-FFF2-40B4-BE49-F238E27FC236}">
                  <a16:creationId xmlns:a16="http://schemas.microsoft.com/office/drawing/2014/main" id="{D9B0EA4F-C783-9247-58DA-5F17BC5CFB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73C7E1A5-FA5C-28A5-26B1-EB7814C40A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object 3">
            <a:extLst>
              <a:ext uri="{FF2B5EF4-FFF2-40B4-BE49-F238E27FC236}">
                <a16:creationId xmlns:a16="http://schemas.microsoft.com/office/drawing/2014/main" id="{08321986-B0F2-CAF0-8DA8-3C3785466D4C}"/>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11" name="object 4">
            <a:extLst>
              <a:ext uri="{FF2B5EF4-FFF2-40B4-BE49-F238E27FC236}">
                <a16:creationId xmlns:a16="http://schemas.microsoft.com/office/drawing/2014/main" id="{4094AEAC-94BE-59D2-C4C0-F7B0EAFCA59C}"/>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2" name="タイトル 4">
            <a:extLst>
              <a:ext uri="{FF2B5EF4-FFF2-40B4-BE49-F238E27FC236}">
                <a16:creationId xmlns:a16="http://schemas.microsoft.com/office/drawing/2014/main" id="{43E8DDDD-185C-8D35-8446-E89B4AD64AB4}"/>
              </a:ext>
            </a:extLst>
          </p:cNvPr>
          <p:cNvSpPr>
            <a:spLocks noGrp="1"/>
          </p:cNvSpPr>
          <p:nvPr>
            <p:ph type="title"/>
          </p:nvPr>
        </p:nvSpPr>
        <p:spPr>
          <a:xfrm>
            <a:off x="1169488" y="2500011"/>
            <a:ext cx="4316912" cy="361637"/>
          </a:xfrm>
        </p:spPr>
        <p:txBody>
          <a:bodyPr>
            <a:noAutofit/>
          </a:bodyPr>
          <a:lstStyle>
            <a:lvl1pPr algn="ctr">
              <a:defRPr sz="2800" b="1" i="0">
                <a:solidFill>
                  <a:schemeClr val="tx1"/>
                </a:solidFill>
                <a:latin typeface="Yu Gothic" panose="020B0400000000000000" pitchFamily="34" charset="-128"/>
                <a:ea typeface="Yu Gothic" panose="020B0400000000000000" pitchFamily="34" charset="-128"/>
                <a:cs typeface="Arial" panose="020B0604020202020204" pitchFamily="34" charset="0"/>
              </a:defRPr>
            </a:lvl1pPr>
          </a:lstStyle>
          <a:p>
            <a:endParaRPr kumimoji="1" lang="ja-JP" altLang="en-US"/>
          </a:p>
        </p:txBody>
      </p:sp>
      <p:sp>
        <p:nvSpPr>
          <p:cNvPr id="13" name="テキスト プレースホルダー 22">
            <a:extLst>
              <a:ext uri="{FF2B5EF4-FFF2-40B4-BE49-F238E27FC236}">
                <a16:creationId xmlns:a16="http://schemas.microsoft.com/office/drawing/2014/main" id="{53B6E0EF-88A0-5373-4FA1-F8A2A149F742}"/>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Yu Gothic Medium" panose="020B0400000000000000" pitchFamily="34" charset="-128"/>
                <a:ea typeface="Yu Gothic Medium" panose="020B0400000000000000" pitchFamily="34" charset="-128"/>
              </a:defRPr>
            </a:lvl1pPr>
          </a:lstStyle>
          <a:p>
            <a:pPr lvl="0"/>
            <a:r>
              <a:rPr kumimoji="1" lang="ja-JP" altLang="en-US"/>
              <a:t>サブタイトル</a:t>
            </a:r>
          </a:p>
        </p:txBody>
      </p:sp>
      <p:sp>
        <p:nvSpPr>
          <p:cNvPr id="14" name="object 12">
            <a:extLst>
              <a:ext uri="{FF2B5EF4-FFF2-40B4-BE49-F238E27FC236}">
                <a16:creationId xmlns:a16="http://schemas.microsoft.com/office/drawing/2014/main" id="{940DBB74-7D85-5848-24BB-D8AD483FE4DF}"/>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5" name="object 13">
            <a:extLst>
              <a:ext uri="{FF2B5EF4-FFF2-40B4-BE49-F238E27FC236}">
                <a16:creationId xmlns:a16="http://schemas.microsoft.com/office/drawing/2014/main" id="{84B76BE8-FF9A-A21A-CC32-B674DFBFB0A0}"/>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6" name="テキスト プレースホルダー 17">
            <a:extLst>
              <a:ext uri="{FF2B5EF4-FFF2-40B4-BE49-F238E27FC236}">
                <a16:creationId xmlns:a16="http://schemas.microsoft.com/office/drawing/2014/main" id="{F5269317-7FFF-D43F-6B56-74DBA27C475A}"/>
              </a:ext>
            </a:extLst>
          </p:cNvPr>
          <p:cNvSpPr>
            <a:spLocks noGrp="1"/>
          </p:cNvSpPr>
          <p:nvPr>
            <p:ph type="body" sz="quarter" idx="13"/>
          </p:nvPr>
        </p:nvSpPr>
        <p:spPr>
          <a:xfrm>
            <a:off x="1169488" y="1553983"/>
            <a:ext cx="4316911" cy="279049"/>
          </a:xfrm>
        </p:spPr>
        <p:txBody>
          <a:bodyPr anchor="ctr" anchorCtr="0">
            <a:noAutofit/>
          </a:bodyPr>
          <a:lstStyle>
            <a:lvl1pPr algn="ctr">
              <a:defRPr sz="1800">
                <a:solidFill>
                  <a:schemeClr val="tx2"/>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7" name="テキスト プレースホルダー 17">
            <a:extLst>
              <a:ext uri="{FF2B5EF4-FFF2-40B4-BE49-F238E27FC236}">
                <a16:creationId xmlns:a16="http://schemas.microsoft.com/office/drawing/2014/main" id="{869145FC-15D3-07DD-F7BC-C8023E1C08AF}"/>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a:t>
            </a:r>
            <a:r>
              <a:rPr kumimoji="1" lang="ja-JP" altLang="en-US"/>
              <a:t>年</a:t>
            </a:r>
            <a:r>
              <a:rPr kumimoji="1" lang="en-US" altLang="ja-JP"/>
              <a:t>X</a:t>
            </a:r>
            <a:r>
              <a:rPr kumimoji="1" lang="ja-JP" altLang="en-US"/>
              <a:t>月</a:t>
            </a:r>
          </a:p>
        </p:txBody>
      </p:sp>
      <p:pic>
        <p:nvPicPr>
          <p:cNvPr id="2" name="図 1" descr="ロゴ&#10;&#10;自動的に生成された説明">
            <a:extLst>
              <a:ext uri="{FF2B5EF4-FFF2-40B4-BE49-F238E27FC236}">
                <a16:creationId xmlns:a16="http://schemas.microsoft.com/office/drawing/2014/main" id="{AAF6F365-9DA1-5556-986E-27916633AE9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86419" y="4470537"/>
            <a:ext cx="880182" cy="579160"/>
          </a:xfrm>
          <a:prstGeom prst="rect">
            <a:avLst/>
          </a:prstGeom>
        </p:spPr>
      </p:pic>
      <p:sp>
        <p:nvSpPr>
          <p:cNvPr id="18" name="スライド番号プレースホルダー 24">
            <a:extLst>
              <a:ext uri="{FF2B5EF4-FFF2-40B4-BE49-F238E27FC236}">
                <a16:creationId xmlns:a16="http://schemas.microsoft.com/office/drawing/2014/main" id="{F38B10A9-FA31-4B17-8B86-FDB52707D71C}"/>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199220703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
        <p:nvSpPr>
          <p:cNvPr id="7" name="テキスト プレースホルダー 23">
            <a:extLst>
              <a:ext uri="{FF2B5EF4-FFF2-40B4-BE49-F238E27FC236}">
                <a16:creationId xmlns:a16="http://schemas.microsoft.com/office/drawing/2014/main" id="{7CA73F3A-B4C6-B201-9FA1-F97E675551C3}"/>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25897459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sp>
        <p:nvSpPr>
          <p:cNvPr id="3" name="テキスト プレースホルダー 23">
            <a:extLst>
              <a:ext uri="{FF2B5EF4-FFF2-40B4-BE49-F238E27FC236}">
                <a16:creationId xmlns:a16="http://schemas.microsoft.com/office/drawing/2014/main" id="{8DDE5366-03EE-5B59-BAB0-F0E5131329CF}"/>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5" name="図 4">
            <a:extLst>
              <a:ext uri="{FF2B5EF4-FFF2-40B4-BE49-F238E27FC236}">
                <a16:creationId xmlns:a16="http://schemas.microsoft.com/office/drawing/2014/main" id="{C411BC3F-6859-4974-93F6-5838882C2CE3}"/>
              </a:ext>
            </a:extLst>
          </p:cNvPr>
          <p:cNvPicPr>
            <a:picLocks noChangeAspect="1"/>
          </p:cNvPicPr>
          <p:nvPr userDrawn="1"/>
        </p:nvPicPr>
        <p:blipFill>
          <a:blip r:embed="rId2"/>
          <a:stretch>
            <a:fillRect/>
          </a:stretch>
        </p:blipFill>
        <p:spPr>
          <a:xfrm>
            <a:off x="0" y="0"/>
            <a:ext cx="877900" cy="877900"/>
          </a:xfrm>
          <a:prstGeom prst="rect">
            <a:avLst/>
          </a:prstGeom>
        </p:spPr>
      </p:pic>
    </p:spTree>
    <p:extLst>
      <p:ext uri="{BB962C8B-B14F-4D97-AF65-F5344CB8AC3E}">
        <p14:creationId xmlns:p14="http://schemas.microsoft.com/office/powerpoint/2010/main" val="39243691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__3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3</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5" name="図 4">
            <a:extLst>
              <a:ext uri="{FF2B5EF4-FFF2-40B4-BE49-F238E27FC236}">
                <a16:creationId xmlns:a16="http://schemas.microsoft.com/office/drawing/2014/main" id="{5FD09F34-390B-86C1-8DCF-DE950F6C86E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318633773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3" name="図 2">
            <a:extLst>
              <a:ext uri="{FF2B5EF4-FFF2-40B4-BE49-F238E27FC236}">
                <a16:creationId xmlns:a16="http://schemas.microsoft.com/office/drawing/2014/main" id="{A5C35359-2759-4B05-91D0-C6B94BEDAFDD}"/>
              </a:ext>
            </a:extLst>
          </p:cNvPr>
          <p:cNvPicPr>
            <a:picLocks noChangeAspect="1"/>
          </p:cNvPicPr>
          <p:nvPr userDrawn="1"/>
        </p:nvPicPr>
        <p:blipFill>
          <a:blip r:embed="rId2"/>
          <a:stretch>
            <a:fillRect/>
          </a:stretch>
        </p:blipFill>
        <p:spPr>
          <a:xfrm>
            <a:off x="0" y="499"/>
            <a:ext cx="877900" cy="877900"/>
          </a:xfrm>
          <a:prstGeom prst="rect">
            <a:avLst/>
          </a:prstGeom>
        </p:spPr>
      </p:pic>
    </p:spTree>
    <p:extLst>
      <p:ext uri="{BB962C8B-B14F-4D97-AF65-F5344CB8AC3E}">
        <p14:creationId xmlns:p14="http://schemas.microsoft.com/office/powerpoint/2010/main" val="10980138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3" name="図 2">
            <a:extLst>
              <a:ext uri="{FF2B5EF4-FFF2-40B4-BE49-F238E27FC236}">
                <a16:creationId xmlns:a16="http://schemas.microsoft.com/office/drawing/2014/main" id="{0E0D206B-851D-4D00-A52F-28D32548C517}"/>
              </a:ext>
            </a:extLst>
          </p:cNvPr>
          <p:cNvPicPr>
            <a:picLocks noChangeAspect="1"/>
          </p:cNvPicPr>
          <p:nvPr userDrawn="1"/>
        </p:nvPicPr>
        <p:blipFill>
          <a:blip r:embed="rId2"/>
          <a:stretch>
            <a:fillRect/>
          </a:stretch>
        </p:blipFill>
        <p:spPr>
          <a:xfrm>
            <a:off x="0" y="0"/>
            <a:ext cx="877900" cy="877900"/>
          </a:xfrm>
          <a:prstGeom prst="rect">
            <a:avLst/>
          </a:prstGeom>
        </p:spPr>
      </p:pic>
    </p:spTree>
    <p:extLst>
      <p:ext uri="{BB962C8B-B14F-4D97-AF65-F5344CB8AC3E}">
        <p14:creationId xmlns:p14="http://schemas.microsoft.com/office/powerpoint/2010/main" val="1482285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ナンバリング無し_本文_タイトル1段">
    <p:spTree>
      <p:nvGrpSpPr>
        <p:cNvPr id="1" name=""/>
        <p:cNvGrpSpPr/>
        <p:nvPr/>
      </p:nvGrpSpPr>
      <p:grpSpPr>
        <a:xfrm>
          <a:off x="0" y="0"/>
          <a:ext cx="0" cy="0"/>
          <a:chOff x="0" y="0"/>
          <a:chExt cx="0" cy="0"/>
        </a:xfrm>
      </p:grpSpPr>
      <p:pic>
        <p:nvPicPr>
          <p:cNvPr id="5" name="図 4" descr="プールに泳いでいる&#10;&#10;自動的に生成された説明">
            <a:extLst>
              <a:ext uri="{FF2B5EF4-FFF2-40B4-BE49-F238E27FC236}">
                <a16:creationId xmlns:a16="http://schemas.microsoft.com/office/drawing/2014/main" id="{5BF3FDDF-9CED-1233-7AB7-05899CCAF9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Tree>
    <p:extLst>
      <p:ext uri="{BB962C8B-B14F-4D97-AF65-F5344CB8AC3E}">
        <p14:creationId xmlns:p14="http://schemas.microsoft.com/office/powerpoint/2010/main" val="253239079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8516027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05993"/>
                </a:solidFill>
                <a:latin typeface="メイリオ"/>
                <a:cs typeface="メイリオ"/>
              </a:defRPr>
            </a:lvl1pPr>
          </a:lstStyle>
          <a:p>
            <a:endParaRPr/>
          </a:p>
        </p:txBody>
      </p:sp>
      <p:sp>
        <p:nvSpPr>
          <p:cNvPr id="3" name="Holder 3"/>
          <p:cNvSpPr>
            <a:spLocks noGrp="1"/>
          </p:cNvSpPr>
          <p:nvPr>
            <p:ph type="body" idx="1"/>
          </p:nvPr>
        </p:nvSpPr>
        <p:spPr/>
        <p:txBody>
          <a:bodyPr lIns="0" tIns="0" rIns="0" bIns="0"/>
          <a:lstStyle>
            <a:lvl1pPr>
              <a:defRPr sz="1400" b="0" i="0">
                <a:solidFill>
                  <a:srgbClr val="231F20"/>
                </a:solidFill>
                <a:latin typeface="メイリオ"/>
                <a:cs typeface="メイリオ"/>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000" b="0" i="0">
                <a:solidFill>
                  <a:srgbClr val="231F20"/>
                </a:solidFill>
                <a:latin typeface="メイリオ"/>
                <a:cs typeface="メイリオ"/>
              </a:defRPr>
            </a:lvl1pPr>
          </a:lstStyle>
          <a:p>
            <a:pPr marL="38100">
              <a:lnSpc>
                <a:spcPct val="100000"/>
              </a:lnSpc>
              <a:spcBef>
                <a:spcPts val="160"/>
              </a:spcBef>
            </a:pPr>
            <a:fld id="{81D60167-4931-47E6-BA6A-407CBD079E47}" type="slidenum">
              <a:rPr dirty="0"/>
              <a:t>‹#›</a:t>
            </a:fld>
            <a:endParaRPr/>
          </a:p>
        </p:txBody>
      </p:sp>
    </p:spTree>
    <p:extLst>
      <p:ext uri="{BB962C8B-B14F-4D97-AF65-F5344CB8AC3E}">
        <p14:creationId xmlns:p14="http://schemas.microsoft.com/office/powerpoint/2010/main" val="265245314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環境-本文">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E89808D-7571-94C1-05CE-F53BF713BB2E}"/>
              </a:ext>
            </a:extLst>
          </p:cNvPr>
          <p:cNvSpPr>
            <a:spLocks noGrp="1"/>
          </p:cNvSpPr>
          <p:nvPr>
            <p:ph type="sldNum" sz="quarter" idx="12"/>
          </p:nvPr>
        </p:nvSpPr>
        <p:spPr>
          <a:xfrm>
            <a:off x="9158197" y="6560001"/>
            <a:ext cx="2804160" cy="123111"/>
          </a:xfrm>
        </p:spPr>
        <p:txBody>
          <a:bodyPr/>
          <a:lstStyle>
            <a:lvl1pPr>
              <a:defRPr sz="8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pic>
        <p:nvPicPr>
          <p:cNvPr id="2" name="object 3">
            <a:extLst>
              <a:ext uri="{FF2B5EF4-FFF2-40B4-BE49-F238E27FC236}">
                <a16:creationId xmlns:a16="http://schemas.microsoft.com/office/drawing/2014/main" id="{F704B579-EB11-73A7-8A72-708317980408}"/>
              </a:ext>
            </a:extLst>
          </p:cNvPr>
          <p:cNvPicPr/>
          <p:nvPr userDrawn="1"/>
        </p:nvPicPr>
        <p:blipFill>
          <a:blip r:embed="rId2" cstate="print"/>
          <a:stretch>
            <a:fillRect/>
          </a:stretch>
        </p:blipFill>
        <p:spPr>
          <a:xfrm>
            <a:off x="0" y="6386004"/>
            <a:ext cx="12192000" cy="471995"/>
          </a:xfrm>
          <a:prstGeom prst="rect">
            <a:avLst/>
          </a:prstGeom>
        </p:spPr>
      </p:pic>
      <p:grpSp>
        <p:nvGrpSpPr>
          <p:cNvPr id="4" name="グループ化 3">
            <a:extLst>
              <a:ext uri="{FF2B5EF4-FFF2-40B4-BE49-F238E27FC236}">
                <a16:creationId xmlns:a16="http://schemas.microsoft.com/office/drawing/2014/main" id="{F45AF8F2-2209-C868-F7FA-F17A6F56F980}"/>
              </a:ext>
            </a:extLst>
          </p:cNvPr>
          <p:cNvGrpSpPr/>
          <p:nvPr userDrawn="1"/>
        </p:nvGrpSpPr>
        <p:grpSpPr>
          <a:xfrm>
            <a:off x="317500" y="6521700"/>
            <a:ext cx="3237782" cy="190734"/>
            <a:chOff x="317500" y="6521700"/>
            <a:chExt cx="3237782" cy="190734"/>
          </a:xfrm>
        </p:grpSpPr>
        <p:pic>
          <p:nvPicPr>
            <p:cNvPr id="15" name="図 14" descr="アイコン&#10;&#10;自動的に生成された説明">
              <a:extLst>
                <a:ext uri="{FF2B5EF4-FFF2-40B4-BE49-F238E27FC236}">
                  <a16:creationId xmlns:a16="http://schemas.microsoft.com/office/drawing/2014/main" id="{E04FA5DA-5C10-7444-B46C-68EE388CFB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16" name="テキスト ボックス 15">
              <a:extLst>
                <a:ext uri="{FF2B5EF4-FFF2-40B4-BE49-F238E27FC236}">
                  <a16:creationId xmlns:a16="http://schemas.microsoft.com/office/drawing/2014/main" id="{86C37E4C-8984-B00E-0DC2-B4B1779C578B}"/>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7" name="テキスト ボックス 16">
              <a:extLst>
                <a:ext uri="{FF2B5EF4-FFF2-40B4-BE49-F238E27FC236}">
                  <a16:creationId xmlns:a16="http://schemas.microsoft.com/office/drawing/2014/main" id="{F0A3FC6C-4A47-4B4C-1ACD-4EE4475C50B8}"/>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pic>
        <p:nvPicPr>
          <p:cNvPr id="6" name="object 2">
            <a:extLst>
              <a:ext uri="{FF2B5EF4-FFF2-40B4-BE49-F238E27FC236}">
                <a16:creationId xmlns:a16="http://schemas.microsoft.com/office/drawing/2014/main" id="{C3060FD8-050D-C325-3496-42BE68077429}"/>
              </a:ext>
            </a:extLst>
          </p:cNvPr>
          <p:cNvPicPr/>
          <p:nvPr userDrawn="1"/>
        </p:nvPicPr>
        <p:blipFill>
          <a:blip r:embed="rId4" cstate="print"/>
          <a:stretch>
            <a:fillRect/>
          </a:stretch>
        </p:blipFill>
        <p:spPr>
          <a:xfrm>
            <a:off x="0" y="0"/>
            <a:ext cx="878395" cy="878395"/>
          </a:xfrm>
          <a:prstGeom prst="rect">
            <a:avLst/>
          </a:prstGeom>
        </p:spPr>
      </p:pic>
      <p:sp>
        <p:nvSpPr>
          <p:cNvPr id="7" name="object 3">
            <a:extLst>
              <a:ext uri="{FF2B5EF4-FFF2-40B4-BE49-F238E27FC236}">
                <a16:creationId xmlns:a16="http://schemas.microsoft.com/office/drawing/2014/main" id="{A4DA333C-DC4C-6654-7D9E-32A9D44205BD}"/>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7F7F7F"/>
            </a:solidFill>
          </a:ln>
        </p:spPr>
        <p:txBody>
          <a:bodyPr wrap="square" lIns="0" tIns="0" rIns="0" bIns="0" rtlCol="0"/>
          <a:lstStyle/>
          <a:p>
            <a:endParaRPr/>
          </a:p>
        </p:txBody>
      </p:sp>
      <p:sp>
        <p:nvSpPr>
          <p:cNvPr id="8" name="スライド番号プレースホルダー 4">
            <a:extLst>
              <a:ext uri="{FF2B5EF4-FFF2-40B4-BE49-F238E27FC236}">
                <a16:creationId xmlns:a16="http://schemas.microsoft.com/office/drawing/2014/main" id="{C7B494B2-5AAD-532B-589C-629136B16585}"/>
              </a:ext>
            </a:extLst>
          </p:cNvPr>
          <p:cNvSpPr txBox="1">
            <a:spLocks/>
          </p:cNvSpPr>
          <p:nvPr userDrawn="1"/>
        </p:nvSpPr>
        <p:spPr>
          <a:xfrm>
            <a:off x="9144000" y="6540123"/>
            <a:ext cx="2804160" cy="153888"/>
          </a:xfrm>
          <a:prstGeom prst="rect">
            <a:avLst/>
          </a:prstGeom>
        </p:spPr>
        <p:txBody>
          <a:bodyPr vert="horz" lIns="91440" tIns="45720" rIns="91440" bIns="45720" rtlCol="0" anchor="ctr"/>
          <a:lstStyle>
            <a:defPPr>
              <a:defRPr kern="0"/>
            </a:defPPr>
            <a:lvl1pPr algn="r">
              <a:defRPr sz="10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Tree>
    <p:extLst>
      <p:ext uri="{BB962C8B-B14F-4D97-AF65-F5344CB8AC3E}">
        <p14:creationId xmlns:p14="http://schemas.microsoft.com/office/powerpoint/2010/main" val="252574909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表紙">
    <p:spTree>
      <p:nvGrpSpPr>
        <p:cNvPr id="1" name=""/>
        <p:cNvGrpSpPr/>
        <p:nvPr/>
      </p:nvGrpSpPr>
      <p:grpSpPr>
        <a:xfrm>
          <a:off x="0" y="0"/>
          <a:ext cx="0" cy="0"/>
          <a:chOff x="0" y="0"/>
          <a:chExt cx="0" cy="0"/>
        </a:xfrm>
      </p:grpSpPr>
      <p:pic>
        <p:nvPicPr>
          <p:cNvPr id="6" name="object 3">
            <a:extLst>
              <a:ext uri="{FF2B5EF4-FFF2-40B4-BE49-F238E27FC236}">
                <a16:creationId xmlns:a16="http://schemas.microsoft.com/office/drawing/2014/main" id="{6E195C7E-1FE0-3DA3-6405-40BB48E1AECD}"/>
              </a:ext>
            </a:extLst>
          </p:cNvPr>
          <p:cNvPicPr/>
          <p:nvPr userDrawn="1"/>
        </p:nvPicPr>
        <p:blipFill>
          <a:blip r:embed="rId2" cstate="print"/>
          <a:stretch>
            <a:fillRect/>
          </a:stretch>
        </p:blipFill>
        <p:spPr>
          <a:xfrm>
            <a:off x="0" y="6386004"/>
            <a:ext cx="12192000" cy="471995"/>
          </a:xfrm>
          <a:prstGeom prst="rect">
            <a:avLst/>
          </a:prstGeom>
        </p:spPr>
      </p:pic>
      <p:grpSp>
        <p:nvGrpSpPr>
          <p:cNvPr id="7" name="グループ化 6">
            <a:extLst>
              <a:ext uri="{FF2B5EF4-FFF2-40B4-BE49-F238E27FC236}">
                <a16:creationId xmlns:a16="http://schemas.microsoft.com/office/drawing/2014/main" id="{86878B32-67CF-1669-EC8C-A22BA357C724}"/>
              </a:ext>
            </a:extLst>
          </p:cNvPr>
          <p:cNvGrpSpPr/>
          <p:nvPr userDrawn="1"/>
        </p:nvGrpSpPr>
        <p:grpSpPr>
          <a:xfrm>
            <a:off x="317500" y="6521700"/>
            <a:ext cx="3237782" cy="190734"/>
            <a:chOff x="317500" y="6521700"/>
            <a:chExt cx="3237782" cy="190734"/>
          </a:xfrm>
        </p:grpSpPr>
        <p:pic>
          <p:nvPicPr>
            <p:cNvPr id="8" name="図 7" descr="アイコン&#10;&#10;自動的に生成された説明">
              <a:extLst>
                <a:ext uri="{FF2B5EF4-FFF2-40B4-BE49-F238E27FC236}">
                  <a16:creationId xmlns:a16="http://schemas.microsoft.com/office/drawing/2014/main" id="{27995656-589E-0552-2C53-03109559056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9" name="テキスト ボックス 8">
              <a:extLst>
                <a:ext uri="{FF2B5EF4-FFF2-40B4-BE49-F238E27FC236}">
                  <a16:creationId xmlns:a16="http://schemas.microsoft.com/office/drawing/2014/main" id="{13DB44BA-8840-202F-11FE-F9A1396B3F4F}"/>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0" name="テキスト ボックス 9">
              <a:extLst>
                <a:ext uri="{FF2B5EF4-FFF2-40B4-BE49-F238E27FC236}">
                  <a16:creationId xmlns:a16="http://schemas.microsoft.com/office/drawing/2014/main" id="{6C1A95A5-8095-6FD9-7815-727CC8791D1A}"/>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sp>
        <p:nvSpPr>
          <p:cNvPr id="12" name="object 4">
            <a:extLst>
              <a:ext uri="{FF2B5EF4-FFF2-40B4-BE49-F238E27FC236}">
                <a16:creationId xmlns:a16="http://schemas.microsoft.com/office/drawing/2014/main" id="{F752818C-1434-CCC2-110B-510F22D27375}"/>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nvGrpSpPr>
          <p:cNvPr id="14" name="object 2">
            <a:extLst>
              <a:ext uri="{FF2B5EF4-FFF2-40B4-BE49-F238E27FC236}">
                <a16:creationId xmlns:a16="http://schemas.microsoft.com/office/drawing/2014/main" id="{40B7FA48-E8C1-5779-19A1-ADF80DD8647F}"/>
              </a:ext>
            </a:extLst>
          </p:cNvPr>
          <p:cNvGrpSpPr/>
          <p:nvPr userDrawn="1"/>
        </p:nvGrpSpPr>
        <p:grpSpPr>
          <a:xfrm>
            <a:off x="0" y="945388"/>
            <a:ext cx="5842000" cy="4495800"/>
            <a:chOff x="0" y="945388"/>
            <a:chExt cx="5842000" cy="4495800"/>
          </a:xfrm>
        </p:grpSpPr>
        <p:sp>
          <p:nvSpPr>
            <p:cNvPr id="15" name="object 3">
              <a:extLst>
                <a:ext uri="{FF2B5EF4-FFF2-40B4-BE49-F238E27FC236}">
                  <a16:creationId xmlns:a16="http://schemas.microsoft.com/office/drawing/2014/main" id="{D52D470E-6218-D36E-CF39-CCA958E45F2F}"/>
                </a:ext>
              </a:extLst>
            </p:cNvPr>
            <p:cNvSpPr/>
            <p:nvPr/>
          </p:nvSpPr>
          <p:spPr>
            <a:xfrm>
              <a:off x="0" y="945388"/>
              <a:ext cx="5842000" cy="4495800"/>
            </a:xfrm>
            <a:custGeom>
              <a:avLst/>
              <a:gdLst/>
              <a:ahLst/>
              <a:cxnLst/>
              <a:rect l="l" t="t" r="r" b="b"/>
              <a:pathLst>
                <a:path w="5842000" h="4495800">
                  <a:moveTo>
                    <a:pt x="5842000" y="0"/>
                  </a:moveTo>
                  <a:lnTo>
                    <a:pt x="0" y="0"/>
                  </a:lnTo>
                  <a:lnTo>
                    <a:pt x="0" y="4495228"/>
                  </a:lnTo>
                  <a:lnTo>
                    <a:pt x="5842000" y="4495228"/>
                  </a:lnTo>
                  <a:lnTo>
                    <a:pt x="5842000" y="0"/>
                  </a:lnTo>
                  <a:close/>
                </a:path>
              </a:pathLst>
            </a:custGeom>
            <a:solidFill>
              <a:srgbClr val="009FDC"/>
            </a:solidFill>
          </p:spPr>
          <p:txBody>
            <a:bodyPr wrap="square" lIns="0" tIns="0" rIns="0" bIns="0" rtlCol="0"/>
            <a:lstStyle/>
            <a:p>
              <a:endParaRPr/>
            </a:p>
          </p:txBody>
        </p:sp>
        <p:sp>
          <p:nvSpPr>
            <p:cNvPr id="16" name="object 4">
              <a:extLst>
                <a:ext uri="{FF2B5EF4-FFF2-40B4-BE49-F238E27FC236}">
                  <a16:creationId xmlns:a16="http://schemas.microsoft.com/office/drawing/2014/main" id="{C35112EE-5F1E-FC31-2E15-2A002499C87E}"/>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Tree>
    <p:extLst>
      <p:ext uri="{BB962C8B-B14F-4D97-AF65-F5344CB8AC3E}">
        <p14:creationId xmlns:p14="http://schemas.microsoft.com/office/powerpoint/2010/main" val="16490334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6A44B7E0-A637-CD9A-4CFB-6CB232226B6D}"/>
              </a:ext>
            </a:extLst>
          </p:cNvPr>
          <p:cNvSpPr>
            <a:spLocks noGrp="1"/>
          </p:cNvSpPr>
          <p:nvPr>
            <p:ph type="sldNum" sz="quarter" idx="12"/>
          </p:nvPr>
        </p:nvSpPr>
        <p:spPr>
          <a:xfrm>
            <a:off x="9158197" y="6560001"/>
            <a:ext cx="2804160" cy="123111"/>
          </a:xfrm>
        </p:spPr>
        <p:txBody>
          <a:bodyPr/>
          <a:lstStyle>
            <a:lvl1pPr>
              <a:defRPr sz="8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
        <p:nvSpPr>
          <p:cNvPr id="3" name="object 111">
            <a:extLst>
              <a:ext uri="{FF2B5EF4-FFF2-40B4-BE49-F238E27FC236}">
                <a16:creationId xmlns:a16="http://schemas.microsoft.com/office/drawing/2014/main" id="{1DCF0C6D-D8AC-4266-F6E7-38D9121E62D2}"/>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pic>
        <p:nvPicPr>
          <p:cNvPr id="4" name="object 3">
            <a:extLst>
              <a:ext uri="{FF2B5EF4-FFF2-40B4-BE49-F238E27FC236}">
                <a16:creationId xmlns:a16="http://schemas.microsoft.com/office/drawing/2014/main" id="{9EE4E232-BA45-65B1-000E-3A9E44AB5C5C}"/>
              </a:ext>
            </a:extLst>
          </p:cNvPr>
          <p:cNvPicPr/>
          <p:nvPr userDrawn="1"/>
        </p:nvPicPr>
        <p:blipFill>
          <a:blip r:embed="rId2" cstate="print"/>
          <a:stretch>
            <a:fillRect/>
          </a:stretch>
        </p:blipFill>
        <p:spPr>
          <a:xfrm>
            <a:off x="0" y="6386004"/>
            <a:ext cx="12192000" cy="471995"/>
          </a:xfrm>
          <a:prstGeom prst="rect">
            <a:avLst/>
          </a:prstGeom>
        </p:spPr>
      </p:pic>
      <p:grpSp>
        <p:nvGrpSpPr>
          <p:cNvPr id="5" name="グループ化 4">
            <a:extLst>
              <a:ext uri="{FF2B5EF4-FFF2-40B4-BE49-F238E27FC236}">
                <a16:creationId xmlns:a16="http://schemas.microsoft.com/office/drawing/2014/main" id="{84B17807-877F-99B2-09AC-FD3B390923EE}"/>
              </a:ext>
            </a:extLst>
          </p:cNvPr>
          <p:cNvGrpSpPr/>
          <p:nvPr userDrawn="1"/>
        </p:nvGrpSpPr>
        <p:grpSpPr>
          <a:xfrm>
            <a:off x="317500" y="6521700"/>
            <a:ext cx="3237782" cy="190734"/>
            <a:chOff x="317500" y="6521700"/>
            <a:chExt cx="3237782" cy="190734"/>
          </a:xfrm>
        </p:grpSpPr>
        <p:pic>
          <p:nvPicPr>
            <p:cNvPr id="13" name="図 12" descr="アイコン&#10;&#10;自動的に生成された説明">
              <a:extLst>
                <a:ext uri="{FF2B5EF4-FFF2-40B4-BE49-F238E27FC236}">
                  <a16:creationId xmlns:a16="http://schemas.microsoft.com/office/drawing/2014/main" id="{C3AF8573-0150-EBAE-8E25-B9CB34181A4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14" name="テキスト ボックス 13">
              <a:extLst>
                <a:ext uri="{FF2B5EF4-FFF2-40B4-BE49-F238E27FC236}">
                  <a16:creationId xmlns:a16="http://schemas.microsoft.com/office/drawing/2014/main" id="{FFB808CE-CB03-7DF1-8D58-F2558241CFFF}"/>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5" name="テキスト ボックス 14">
              <a:extLst>
                <a:ext uri="{FF2B5EF4-FFF2-40B4-BE49-F238E27FC236}">
                  <a16:creationId xmlns:a16="http://schemas.microsoft.com/office/drawing/2014/main" id="{8C123E49-48F6-3F28-CAB0-1FA5EB435483}"/>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sp>
        <p:nvSpPr>
          <p:cNvPr id="16" name="スライド番号プレースホルダー 4">
            <a:extLst>
              <a:ext uri="{FF2B5EF4-FFF2-40B4-BE49-F238E27FC236}">
                <a16:creationId xmlns:a16="http://schemas.microsoft.com/office/drawing/2014/main" id="{A73F82D4-7860-CD84-62AD-C1DA60A4FF00}"/>
              </a:ext>
            </a:extLst>
          </p:cNvPr>
          <p:cNvSpPr txBox="1">
            <a:spLocks/>
          </p:cNvSpPr>
          <p:nvPr userDrawn="1"/>
        </p:nvSpPr>
        <p:spPr>
          <a:xfrm>
            <a:off x="9144000" y="6540123"/>
            <a:ext cx="2804160" cy="153888"/>
          </a:xfrm>
          <a:prstGeom prst="rect">
            <a:avLst/>
          </a:prstGeom>
        </p:spPr>
        <p:txBody>
          <a:bodyPr wrap="square" lIns="0" tIns="0" rIns="0" bIns="0">
            <a:spAutoFit/>
          </a:bodyPr>
          <a:lstStyle>
            <a:defPPr>
              <a:defRPr kern="0"/>
            </a:defPPr>
            <a:lvl1pPr algn="r">
              <a:defRPr sz="10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Tree>
    <p:extLst>
      <p:ext uri="{BB962C8B-B14F-4D97-AF65-F5344CB8AC3E}">
        <p14:creationId xmlns:p14="http://schemas.microsoft.com/office/powerpoint/2010/main" val="50233485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表紙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BAECB58-339C-F86C-5CB0-DEEDF8DFAD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ja-JP" altLang="en-US"/>
              <a:t>（役職）氏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baseline="0">
                <a:solidFill>
                  <a:schemeClr val="bg1"/>
                </a:solidFill>
                <a:latin typeface="Segoe UI" panose="020B0502040204020203" pitchFamily="34" charset="0"/>
                <a:ea typeface="Meiryo UI" panose="020B0604030504040204" pitchFamily="50"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baseline="0">
                <a:solidFill>
                  <a:schemeClr val="bg1"/>
                </a:solidFill>
                <a:latin typeface="Segoe UI" panose="020B0502040204020203" pitchFamily="34" charset="0"/>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4" name="LOGO" descr="テキスト&#10;&#10;自動的に生成された説明">
            <a:extLst>
              <a:ext uri="{FF2B5EF4-FFF2-40B4-BE49-F238E27FC236}">
                <a16:creationId xmlns:a16="http://schemas.microsoft.com/office/drawing/2014/main" id="{5B1F2DFA-201B-AC5B-7854-C7896AFF1A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39113" y="4501149"/>
            <a:ext cx="777105" cy="509781"/>
          </a:xfrm>
          <a:prstGeom prst="rect">
            <a:avLst/>
          </a:prstGeom>
        </p:spPr>
      </p:pic>
      <p:sp>
        <p:nvSpPr>
          <p:cNvPr id="5" name="object 13">
            <a:extLst>
              <a:ext uri="{FF2B5EF4-FFF2-40B4-BE49-F238E27FC236}">
                <a16:creationId xmlns:a16="http://schemas.microsoft.com/office/drawing/2014/main" id="{417D132C-783A-C000-F77C-7588E3BF021B}"/>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D49FA8D5-B242-1EED-B7B4-99663359D875}"/>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142016283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表紙_B">
    <p:spTree>
      <p:nvGrpSpPr>
        <p:cNvPr id="1" name=""/>
        <p:cNvGrpSpPr/>
        <p:nvPr/>
      </p:nvGrpSpPr>
      <p:grpSpPr>
        <a:xfrm>
          <a:off x="0" y="0"/>
          <a:ext cx="0" cy="0"/>
          <a:chOff x="0" y="0"/>
          <a:chExt cx="0" cy="0"/>
        </a:xfrm>
      </p:grpSpPr>
      <p:grpSp>
        <p:nvGrpSpPr>
          <p:cNvPr id="6" name="object 2">
            <a:extLst>
              <a:ext uri="{FF2B5EF4-FFF2-40B4-BE49-F238E27FC236}">
                <a16:creationId xmlns:a16="http://schemas.microsoft.com/office/drawing/2014/main" id="{8416DBE6-0C4F-B18F-1C57-B9A6CF3B1CF4}"/>
              </a:ext>
            </a:extLst>
          </p:cNvPr>
          <p:cNvGrpSpPr/>
          <p:nvPr userDrawn="1"/>
        </p:nvGrpSpPr>
        <p:grpSpPr>
          <a:xfrm>
            <a:off x="0" y="945388"/>
            <a:ext cx="5842000" cy="4495800"/>
            <a:chOff x="0" y="945388"/>
            <a:chExt cx="5842000" cy="4495800"/>
          </a:xfrm>
        </p:grpSpPr>
        <p:pic>
          <p:nvPicPr>
            <p:cNvPr id="8" name="object 3">
              <a:extLst>
                <a:ext uri="{FF2B5EF4-FFF2-40B4-BE49-F238E27FC236}">
                  <a16:creationId xmlns:a16="http://schemas.microsoft.com/office/drawing/2014/main" id="{57C06617-46E5-D9A5-3223-CA2B04A5F41F}"/>
                </a:ext>
              </a:extLst>
            </p:cNvPr>
            <p:cNvPicPr/>
            <p:nvPr/>
          </p:nvPicPr>
          <p:blipFill>
            <a:blip r:embed="rId2" cstate="print"/>
            <a:stretch>
              <a:fillRect/>
            </a:stretch>
          </p:blipFill>
          <p:spPr>
            <a:xfrm>
              <a:off x="813371" y="945388"/>
              <a:ext cx="5028628" cy="4495228"/>
            </a:xfrm>
            <a:prstGeom prst="rect">
              <a:avLst/>
            </a:prstGeom>
          </p:spPr>
        </p:pic>
        <p:sp>
          <p:nvSpPr>
            <p:cNvPr id="9" name="object 4">
              <a:extLst>
                <a:ext uri="{FF2B5EF4-FFF2-40B4-BE49-F238E27FC236}">
                  <a16:creationId xmlns:a16="http://schemas.microsoft.com/office/drawing/2014/main" id="{CECB6D33-678B-C3D2-B22A-CF9280FAEF67}"/>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pic>
        <p:nvPicPr>
          <p:cNvPr id="4" name="object 3">
            <a:extLst>
              <a:ext uri="{FF2B5EF4-FFF2-40B4-BE49-F238E27FC236}">
                <a16:creationId xmlns:a16="http://schemas.microsoft.com/office/drawing/2014/main" id="{3DF2DCA4-7047-1011-AB3A-B01B6D8D161F}"/>
              </a:ext>
            </a:extLst>
          </p:cNvPr>
          <p:cNvPicPr/>
          <p:nvPr userDrawn="1"/>
        </p:nvPicPr>
        <p:blipFill>
          <a:blip r:embed="rId3" cstate="print"/>
          <a:stretch>
            <a:fillRect/>
          </a:stretch>
        </p:blipFill>
        <p:spPr>
          <a:xfrm>
            <a:off x="0" y="945387"/>
            <a:ext cx="5842000" cy="4495228"/>
          </a:xfrm>
          <a:prstGeom prst="rect">
            <a:avLst/>
          </a:prstGeom>
        </p:spPr>
      </p:pic>
      <p:sp>
        <p:nvSpPr>
          <p:cNvPr id="5" name="object 4">
            <a:extLst>
              <a:ext uri="{FF2B5EF4-FFF2-40B4-BE49-F238E27FC236}">
                <a16:creationId xmlns:a16="http://schemas.microsoft.com/office/drawing/2014/main" id="{164F495E-B385-662B-9FDE-54599DDFE214}"/>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ja-JP" altLang="en-US"/>
              <a:t>（役職）氏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baseline="0">
                <a:solidFill>
                  <a:schemeClr val="bg1"/>
                </a:solidFill>
                <a:latin typeface="Segoe UI" panose="020B0502040204020203" pitchFamily="34" charset="0"/>
                <a:ea typeface="Meiryo UI" panose="020B0604030504040204" pitchFamily="50"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baseline="0">
                <a:solidFill>
                  <a:schemeClr val="bg1"/>
                </a:solidFill>
                <a:latin typeface="Segoe UI" panose="020B0502040204020203" pitchFamily="34" charset="0"/>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10" name="LOGO" descr="テキスト&#10;&#10;自動的に生成された説明">
            <a:extLst>
              <a:ext uri="{FF2B5EF4-FFF2-40B4-BE49-F238E27FC236}">
                <a16:creationId xmlns:a16="http://schemas.microsoft.com/office/drawing/2014/main" id="{2F1AB5BC-9B6B-6B25-E6D9-6033879772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9113" y="4501149"/>
            <a:ext cx="777105" cy="509781"/>
          </a:xfrm>
          <a:prstGeom prst="rect">
            <a:avLst/>
          </a:prstGeom>
        </p:spPr>
      </p:pic>
      <p:sp>
        <p:nvSpPr>
          <p:cNvPr id="11" name="object 13">
            <a:extLst>
              <a:ext uri="{FF2B5EF4-FFF2-40B4-BE49-F238E27FC236}">
                <a16:creationId xmlns:a16="http://schemas.microsoft.com/office/drawing/2014/main" id="{3FB4366F-D449-8B34-DC04-2022D1832753}"/>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12" name="object 12">
            <a:extLst>
              <a:ext uri="{FF2B5EF4-FFF2-40B4-BE49-F238E27FC236}">
                <a16:creationId xmlns:a16="http://schemas.microsoft.com/office/drawing/2014/main" id="{047A8F08-C9B5-B681-AE6A-B3501DBCC587}"/>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16450835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__4_タイトル1段">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33FA16E5-4F26-F0FC-0860-866AAAE66B3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4</a:t>
            </a:r>
          </a:p>
        </p:txBody>
      </p:sp>
    </p:spTree>
    <p:extLst>
      <p:ext uri="{BB962C8B-B14F-4D97-AF65-F5344CB8AC3E}">
        <p14:creationId xmlns:p14="http://schemas.microsoft.com/office/powerpoint/2010/main" val="77214190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目次_A">
    <p:spTree>
      <p:nvGrpSpPr>
        <p:cNvPr id="1" name=""/>
        <p:cNvGrpSpPr/>
        <p:nvPr/>
      </p:nvGrpSpPr>
      <p:grpSpPr>
        <a:xfrm>
          <a:off x="0" y="0"/>
          <a:ext cx="0" cy="0"/>
          <a:chOff x="0" y="0"/>
          <a:chExt cx="0" cy="0"/>
        </a:xfrm>
      </p:grpSpPr>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1pPr>
            <a:lvl2pPr marL="8001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2pPr>
            <a:lvl3pPr marL="12573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3pPr>
            <a:lvl4pPr marL="17145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4pPr>
            <a:lvl5pPr marL="21717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baseline="0">
                <a:solidFill>
                  <a:schemeClr val="tx2"/>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2" name="object 2">
            <a:extLst>
              <a:ext uri="{FF2B5EF4-FFF2-40B4-BE49-F238E27FC236}">
                <a16:creationId xmlns:a16="http://schemas.microsoft.com/office/drawing/2014/main" id="{33DFCD49-E1FC-DD83-7AA3-3161AF9C0D55}"/>
              </a:ext>
            </a:extLst>
          </p:cNvPr>
          <p:cNvSpPr/>
          <p:nvPr userDrawn="1"/>
        </p:nvSpPr>
        <p:spPr>
          <a:xfrm>
            <a:off x="4571504" y="945388"/>
            <a:ext cx="25400" cy="4495800"/>
          </a:xfrm>
          <a:custGeom>
            <a:avLst/>
            <a:gdLst/>
            <a:ahLst/>
            <a:cxnLst/>
            <a:rect l="l" t="t" r="r" b="b"/>
            <a:pathLst>
              <a:path w="25400" h="4495800">
                <a:moveTo>
                  <a:pt x="25400" y="0"/>
                </a:moveTo>
                <a:lnTo>
                  <a:pt x="0" y="0"/>
                </a:lnTo>
                <a:lnTo>
                  <a:pt x="0" y="4495228"/>
                </a:lnTo>
                <a:lnTo>
                  <a:pt x="25400" y="4495228"/>
                </a:lnTo>
                <a:lnTo>
                  <a:pt x="25400" y="0"/>
                </a:lnTo>
                <a:close/>
              </a:path>
            </a:pathLst>
          </a:custGeom>
          <a:solidFill>
            <a:srgbClr val="0081CC"/>
          </a:solidFill>
        </p:spPr>
        <p:txBody>
          <a:bodyPr wrap="square" lIns="0" tIns="0" rIns="0" bIns="0" rtlCol="0"/>
          <a:lstStyle/>
          <a:p>
            <a:endParaRPr/>
          </a:p>
        </p:txBody>
      </p:sp>
      <p:pic>
        <p:nvPicPr>
          <p:cNvPr id="3" name="object 3">
            <a:extLst>
              <a:ext uri="{FF2B5EF4-FFF2-40B4-BE49-F238E27FC236}">
                <a16:creationId xmlns:a16="http://schemas.microsoft.com/office/drawing/2014/main" id="{B063A95D-A297-62F4-3F0D-416554F7E5AC}"/>
              </a:ext>
            </a:extLst>
          </p:cNvPr>
          <p:cNvPicPr/>
          <p:nvPr userDrawn="1"/>
        </p:nvPicPr>
        <p:blipFill>
          <a:blip r:embed="rId2" cstate="print"/>
          <a:stretch>
            <a:fillRect/>
          </a:stretch>
        </p:blipFill>
        <p:spPr>
          <a:xfrm>
            <a:off x="0" y="945387"/>
            <a:ext cx="813371" cy="4495228"/>
          </a:xfrm>
          <a:prstGeom prst="rect">
            <a:avLst/>
          </a:prstGeom>
        </p:spPr>
      </p:pic>
    </p:spTree>
    <p:extLst>
      <p:ext uri="{BB962C8B-B14F-4D97-AF65-F5344CB8AC3E}">
        <p14:creationId xmlns:p14="http://schemas.microsoft.com/office/powerpoint/2010/main" val="79014181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目次_B">
    <p:spTree>
      <p:nvGrpSpPr>
        <p:cNvPr id="1" name=""/>
        <p:cNvGrpSpPr/>
        <p:nvPr/>
      </p:nvGrpSpPr>
      <p:grpSpPr>
        <a:xfrm>
          <a:off x="0" y="0"/>
          <a:ext cx="0" cy="0"/>
          <a:chOff x="0" y="0"/>
          <a:chExt cx="0" cy="0"/>
        </a:xfrm>
      </p:grpSpPr>
      <p:grpSp>
        <p:nvGrpSpPr>
          <p:cNvPr id="3" name="object 2">
            <a:extLst>
              <a:ext uri="{FF2B5EF4-FFF2-40B4-BE49-F238E27FC236}">
                <a16:creationId xmlns:a16="http://schemas.microsoft.com/office/drawing/2014/main" id="{930D0121-30C1-6AA2-37A5-33F546D8DA9B}"/>
              </a:ext>
            </a:extLst>
          </p:cNvPr>
          <p:cNvGrpSpPr/>
          <p:nvPr userDrawn="1"/>
        </p:nvGrpSpPr>
        <p:grpSpPr>
          <a:xfrm>
            <a:off x="0" y="945387"/>
            <a:ext cx="4597400" cy="4495800"/>
            <a:chOff x="0" y="945387"/>
            <a:chExt cx="4597400" cy="4495800"/>
          </a:xfrm>
        </p:grpSpPr>
        <p:pic>
          <p:nvPicPr>
            <p:cNvPr id="4" name="object 3">
              <a:extLst>
                <a:ext uri="{FF2B5EF4-FFF2-40B4-BE49-F238E27FC236}">
                  <a16:creationId xmlns:a16="http://schemas.microsoft.com/office/drawing/2014/main" id="{4D5AC5A5-CDAC-4467-217B-E0D9749EBD6F}"/>
                </a:ext>
              </a:extLst>
            </p:cNvPr>
            <p:cNvPicPr/>
            <p:nvPr/>
          </p:nvPicPr>
          <p:blipFill>
            <a:blip r:embed="rId2" cstate="print"/>
            <a:stretch>
              <a:fillRect/>
            </a:stretch>
          </p:blipFill>
          <p:spPr>
            <a:xfrm>
              <a:off x="813371" y="945387"/>
              <a:ext cx="3783533" cy="4495228"/>
            </a:xfrm>
            <a:prstGeom prst="rect">
              <a:avLst/>
            </a:prstGeom>
          </p:spPr>
        </p:pic>
        <p:sp>
          <p:nvSpPr>
            <p:cNvPr id="5" name="object 4">
              <a:extLst>
                <a:ext uri="{FF2B5EF4-FFF2-40B4-BE49-F238E27FC236}">
                  <a16:creationId xmlns:a16="http://schemas.microsoft.com/office/drawing/2014/main" id="{D5E15685-ACF9-62A7-FC8B-96457352763B}"/>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1pPr>
            <a:lvl2pPr marL="8001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2pPr>
            <a:lvl3pPr marL="12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3pPr>
            <a:lvl4pPr marL="17145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4pPr>
            <a:lvl5pPr marL="21717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319790027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中表紙_A">
    <p:spTree>
      <p:nvGrpSpPr>
        <p:cNvPr id="1" name=""/>
        <p:cNvGrpSpPr/>
        <p:nvPr/>
      </p:nvGrpSpPr>
      <p:grpSpPr>
        <a:xfrm>
          <a:off x="0" y="0"/>
          <a:ext cx="0" cy="0"/>
          <a:chOff x="0" y="0"/>
          <a:chExt cx="0" cy="0"/>
        </a:xfrm>
      </p:grpSpPr>
      <p:sp>
        <p:nvSpPr>
          <p:cNvPr id="3" name="タイトル">
            <a:extLst>
              <a:ext uri="{FF2B5EF4-FFF2-40B4-BE49-F238E27FC236}">
                <a16:creationId xmlns:a16="http://schemas.microsoft.com/office/drawing/2014/main" id="{C7975F62-56BC-5323-200D-B3DA4BB315BF}"/>
              </a:ext>
            </a:extLst>
          </p:cNvPr>
          <p:cNvSpPr>
            <a:spLocks noGrp="1"/>
          </p:cNvSpPr>
          <p:nvPr>
            <p:ph type="title"/>
          </p:nvPr>
        </p:nvSpPr>
        <p:spPr>
          <a:xfrm>
            <a:off x="1194372" y="970788"/>
            <a:ext cx="4648199" cy="4444428"/>
          </a:xfrm>
        </p:spPr>
        <p:txBody>
          <a:bodyPr anchor="ctr" anchorCtr="0">
            <a:noAutofit/>
          </a:bodyPr>
          <a:lstStyle>
            <a:lvl1pPr algn="l">
              <a:defRPr sz="2400" b="1" i="0" spc="0" baseline="0">
                <a:solidFill>
                  <a:schemeClr val="tx2"/>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pic>
        <p:nvPicPr>
          <p:cNvPr id="2" name="object 2">
            <a:extLst>
              <a:ext uri="{FF2B5EF4-FFF2-40B4-BE49-F238E27FC236}">
                <a16:creationId xmlns:a16="http://schemas.microsoft.com/office/drawing/2014/main" id="{17AE3CFA-653A-1522-6DBF-1A5AFE2544BA}"/>
              </a:ext>
            </a:extLst>
          </p:cNvPr>
          <p:cNvPicPr/>
          <p:nvPr userDrawn="1"/>
        </p:nvPicPr>
        <p:blipFill>
          <a:blip r:embed="rId2" cstate="print"/>
          <a:stretch>
            <a:fillRect/>
          </a:stretch>
        </p:blipFill>
        <p:spPr>
          <a:xfrm>
            <a:off x="0" y="945387"/>
            <a:ext cx="813371" cy="4495228"/>
          </a:xfrm>
          <a:prstGeom prst="rect">
            <a:avLst/>
          </a:prstGeom>
        </p:spPr>
      </p:pic>
      <p:sp>
        <p:nvSpPr>
          <p:cNvPr id="4" name="object 3">
            <a:extLst>
              <a:ext uri="{FF2B5EF4-FFF2-40B4-BE49-F238E27FC236}">
                <a16:creationId xmlns:a16="http://schemas.microsoft.com/office/drawing/2014/main" id="{E4620FE6-B275-64BD-DC0C-F0BB9980B0C0}"/>
              </a:ext>
            </a:extLst>
          </p:cNvPr>
          <p:cNvSpPr/>
          <p:nvPr userDrawn="1"/>
        </p:nvSpPr>
        <p:spPr>
          <a:xfrm>
            <a:off x="1194371" y="945388"/>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
        <p:nvSpPr>
          <p:cNvPr id="5" name="object 4">
            <a:extLst>
              <a:ext uri="{FF2B5EF4-FFF2-40B4-BE49-F238E27FC236}">
                <a16:creationId xmlns:a16="http://schemas.microsoft.com/office/drawing/2014/main" id="{3B47303A-EB95-4FD9-0B03-4C15806D16EF}"/>
              </a:ext>
            </a:extLst>
          </p:cNvPr>
          <p:cNvSpPr/>
          <p:nvPr userDrawn="1"/>
        </p:nvSpPr>
        <p:spPr>
          <a:xfrm>
            <a:off x="1194371" y="5415216"/>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Tree>
    <p:extLst>
      <p:ext uri="{BB962C8B-B14F-4D97-AF65-F5344CB8AC3E}">
        <p14:creationId xmlns:p14="http://schemas.microsoft.com/office/powerpoint/2010/main" val="103289209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中表紙_B">
    <p:spTree>
      <p:nvGrpSpPr>
        <p:cNvPr id="1" name=""/>
        <p:cNvGrpSpPr/>
        <p:nvPr/>
      </p:nvGrpSpPr>
      <p:grpSpPr>
        <a:xfrm>
          <a:off x="0" y="0"/>
          <a:ext cx="0" cy="0"/>
          <a:chOff x="0" y="0"/>
          <a:chExt cx="0" cy="0"/>
        </a:xfrm>
      </p:grpSpPr>
      <p:grpSp>
        <p:nvGrpSpPr>
          <p:cNvPr id="2" name="object 2">
            <a:extLst>
              <a:ext uri="{FF2B5EF4-FFF2-40B4-BE49-F238E27FC236}">
                <a16:creationId xmlns:a16="http://schemas.microsoft.com/office/drawing/2014/main" id="{79539DD8-E216-35BF-84FE-EC92636F953D}"/>
              </a:ext>
            </a:extLst>
          </p:cNvPr>
          <p:cNvGrpSpPr/>
          <p:nvPr userDrawn="1"/>
        </p:nvGrpSpPr>
        <p:grpSpPr>
          <a:xfrm>
            <a:off x="0" y="945388"/>
            <a:ext cx="5842000" cy="4495800"/>
            <a:chOff x="0" y="945388"/>
            <a:chExt cx="5842000" cy="4495800"/>
          </a:xfrm>
        </p:grpSpPr>
        <p:pic>
          <p:nvPicPr>
            <p:cNvPr id="4" name="object 3">
              <a:extLst>
                <a:ext uri="{FF2B5EF4-FFF2-40B4-BE49-F238E27FC236}">
                  <a16:creationId xmlns:a16="http://schemas.microsoft.com/office/drawing/2014/main" id="{0B57F955-76D1-A3CF-285B-113AEE3EC193}"/>
                </a:ext>
              </a:extLst>
            </p:cNvPr>
            <p:cNvPicPr/>
            <p:nvPr/>
          </p:nvPicPr>
          <p:blipFill>
            <a:blip r:embed="rId2" cstate="print"/>
            <a:stretch>
              <a:fillRect/>
            </a:stretch>
          </p:blipFill>
          <p:spPr>
            <a:xfrm>
              <a:off x="813371" y="945388"/>
              <a:ext cx="5028628" cy="4495228"/>
            </a:xfrm>
            <a:prstGeom prst="rect">
              <a:avLst/>
            </a:prstGeom>
          </p:spPr>
        </p:pic>
        <p:sp>
          <p:nvSpPr>
            <p:cNvPr id="5" name="object 4">
              <a:extLst>
                <a:ext uri="{FF2B5EF4-FFF2-40B4-BE49-F238E27FC236}">
                  <a16:creationId xmlns:a16="http://schemas.microsoft.com/office/drawing/2014/main" id="{91E80E5D-13D9-32C7-73EC-5589ECFD8066}"/>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3" name="タイトル">
            <a:extLst>
              <a:ext uri="{FF2B5EF4-FFF2-40B4-BE49-F238E27FC236}">
                <a16:creationId xmlns:a16="http://schemas.microsoft.com/office/drawing/2014/main" id="{C7975F62-56BC-5323-200D-B3DA4BB315BF}"/>
              </a:ext>
            </a:extLst>
          </p:cNvPr>
          <p:cNvSpPr>
            <a:spLocks noGrp="1"/>
          </p:cNvSpPr>
          <p:nvPr>
            <p:ph type="title"/>
          </p:nvPr>
        </p:nvSpPr>
        <p:spPr>
          <a:xfrm>
            <a:off x="1194373" y="970788"/>
            <a:ext cx="4266912" cy="4444428"/>
          </a:xfrm>
        </p:spPr>
        <p:txBody>
          <a:bodyPr anchor="ctr" anchorCtr="0">
            <a:noAutofit/>
          </a:bodyPr>
          <a:lstStyle>
            <a:lvl1pPr algn="l">
              <a:defRPr sz="2400" b="1" i="0" spc="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133898137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本文_ナンバー入り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F4399D90-F9AD-0F8F-E50F-B4D1C90D120A}"/>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2" name="ナンバー">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5" name="BAM_LOGO" descr="アイコン&#10;&#10;自動的に生成された説明">
            <a:extLst>
              <a:ext uri="{FF2B5EF4-FFF2-40B4-BE49-F238E27FC236}">
                <a16:creationId xmlns:a16="http://schemas.microsoft.com/office/drawing/2014/main" id="{889B3466-9022-4CEA-6D52-E95DA4D394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10697440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本文_ナンバー入り">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F4399D90-F9AD-0F8F-E50F-B4D1C90D120A}"/>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2" name="ナンバー">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2494293748"/>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本文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pic>
        <p:nvPicPr>
          <p:cNvPr id="5" name="BAM_LOGO" descr="アイコン&#10;&#10;自動的に生成された説明">
            <a:extLst>
              <a:ext uri="{FF2B5EF4-FFF2-40B4-BE49-F238E27FC236}">
                <a16:creationId xmlns:a16="http://schemas.microsoft.com/office/drawing/2014/main" id="{B512E199-7640-C4BF-75F5-CB2F5BEB6C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276424129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本文">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pic>
        <p:nvPicPr>
          <p:cNvPr id="6" name="図 5">
            <a:extLst>
              <a:ext uri="{FF2B5EF4-FFF2-40B4-BE49-F238E27FC236}">
                <a16:creationId xmlns:a16="http://schemas.microsoft.com/office/drawing/2014/main" id="{E6A5DA76-0C19-CDE7-E3B9-464DE11E8FEF}"/>
              </a:ext>
            </a:extLst>
          </p:cNvPr>
          <p:cNvPicPr>
            <a:picLocks noChangeAspect="1"/>
          </p:cNvPicPr>
          <p:nvPr userDrawn="1"/>
        </p:nvPicPr>
        <p:blipFill rotWithShape="1">
          <a:blip r:embed="rId2"/>
          <a:srcRect t="6968"/>
          <a:stretch/>
        </p:blipFill>
        <p:spPr>
          <a:xfrm>
            <a:off x="10298941" y="114299"/>
            <a:ext cx="1828801" cy="642045"/>
          </a:xfrm>
          <a:prstGeom prst="rect">
            <a:avLst/>
          </a:prstGeom>
        </p:spPr>
      </p:pic>
    </p:spTree>
    <p:extLst>
      <p:ext uri="{BB962C8B-B14F-4D97-AF65-F5344CB8AC3E}">
        <p14:creationId xmlns:p14="http://schemas.microsoft.com/office/powerpoint/2010/main" val="101931389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本文_白紙_BAM">
    <p:spTree>
      <p:nvGrpSpPr>
        <p:cNvPr id="1" name=""/>
        <p:cNvGrpSpPr/>
        <p:nvPr/>
      </p:nvGrpSpPr>
      <p:grpSpPr>
        <a:xfrm>
          <a:off x="0" y="0"/>
          <a:ext cx="0" cy="0"/>
          <a:chOff x="0" y="0"/>
          <a:chExt cx="0" cy="0"/>
        </a:xfrm>
      </p:grpSpPr>
      <p:pic>
        <p:nvPicPr>
          <p:cNvPr id="2" name="BAM_LOGO" descr="アイコン&#10;&#10;自動的に生成された説明">
            <a:extLst>
              <a:ext uri="{FF2B5EF4-FFF2-40B4-BE49-F238E27FC236}">
                <a16:creationId xmlns:a16="http://schemas.microsoft.com/office/drawing/2014/main" id="{4FD953A0-0DA5-5E36-2B38-54A6A9AF5D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284530948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本文_白紙">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05F827F-6944-6FB3-A1FD-B5AFF1E572A1}"/>
              </a:ext>
            </a:extLst>
          </p:cNvPr>
          <p:cNvPicPr>
            <a:picLocks noChangeAspect="1"/>
          </p:cNvPicPr>
          <p:nvPr userDrawn="1"/>
        </p:nvPicPr>
        <p:blipFill rotWithShape="1">
          <a:blip r:embed="rId2"/>
          <a:srcRect t="6968"/>
          <a:stretch/>
        </p:blipFill>
        <p:spPr>
          <a:xfrm>
            <a:off x="10298941" y="114299"/>
            <a:ext cx="1828801" cy="642045"/>
          </a:xfrm>
          <a:prstGeom prst="rect">
            <a:avLst/>
          </a:prstGeom>
        </p:spPr>
      </p:pic>
    </p:spTree>
    <p:extLst>
      <p:ext uri="{BB962C8B-B14F-4D97-AF65-F5344CB8AC3E}">
        <p14:creationId xmlns:p14="http://schemas.microsoft.com/office/powerpoint/2010/main" val="35903214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__4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4</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3" name="図 2">
            <a:extLst>
              <a:ext uri="{FF2B5EF4-FFF2-40B4-BE49-F238E27FC236}">
                <a16:creationId xmlns:a16="http://schemas.microsoft.com/office/drawing/2014/main" id="{BE7A17F5-5E89-353F-6AE7-7D5D5EACA3A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272565303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190101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表紙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BAECB58-339C-F86C-5CB0-DEEDF8DFAD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ja-JP" altLang="en-US"/>
              <a:t>（役職）指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a:solidFill>
                  <a:schemeClr val="bg1"/>
                </a:solidFill>
                <a:latin typeface="Meiryo UI" panose="020B0604030504040204" pitchFamily="34" charset="-128"/>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4" name="LOGO" descr="テキスト&#10;&#10;自動的に生成された説明">
            <a:extLst>
              <a:ext uri="{FF2B5EF4-FFF2-40B4-BE49-F238E27FC236}">
                <a16:creationId xmlns:a16="http://schemas.microsoft.com/office/drawing/2014/main" id="{5B1F2DFA-201B-AC5B-7854-C7896AFF1A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39113" y="4501149"/>
            <a:ext cx="777105" cy="509781"/>
          </a:xfrm>
          <a:prstGeom prst="rect">
            <a:avLst/>
          </a:prstGeom>
        </p:spPr>
      </p:pic>
      <p:sp>
        <p:nvSpPr>
          <p:cNvPr id="5" name="object 13">
            <a:extLst>
              <a:ext uri="{FF2B5EF4-FFF2-40B4-BE49-F238E27FC236}">
                <a16:creationId xmlns:a16="http://schemas.microsoft.com/office/drawing/2014/main" id="{417D132C-783A-C000-F77C-7588E3BF021B}"/>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D49FA8D5-B242-1EED-B7B4-99663359D875}"/>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270095448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表紙_B">
    <p:spTree>
      <p:nvGrpSpPr>
        <p:cNvPr id="1" name=""/>
        <p:cNvGrpSpPr/>
        <p:nvPr/>
      </p:nvGrpSpPr>
      <p:grpSpPr>
        <a:xfrm>
          <a:off x="0" y="0"/>
          <a:ext cx="0" cy="0"/>
          <a:chOff x="0" y="0"/>
          <a:chExt cx="0" cy="0"/>
        </a:xfrm>
      </p:grpSpPr>
      <p:grpSp>
        <p:nvGrpSpPr>
          <p:cNvPr id="6" name="object 2">
            <a:extLst>
              <a:ext uri="{FF2B5EF4-FFF2-40B4-BE49-F238E27FC236}">
                <a16:creationId xmlns:a16="http://schemas.microsoft.com/office/drawing/2014/main" id="{8416DBE6-0C4F-B18F-1C57-B9A6CF3B1CF4}"/>
              </a:ext>
            </a:extLst>
          </p:cNvPr>
          <p:cNvGrpSpPr/>
          <p:nvPr userDrawn="1"/>
        </p:nvGrpSpPr>
        <p:grpSpPr>
          <a:xfrm>
            <a:off x="0" y="945388"/>
            <a:ext cx="5842000" cy="4495800"/>
            <a:chOff x="0" y="945388"/>
            <a:chExt cx="5842000" cy="4495800"/>
          </a:xfrm>
        </p:grpSpPr>
        <p:pic>
          <p:nvPicPr>
            <p:cNvPr id="8" name="object 3">
              <a:extLst>
                <a:ext uri="{FF2B5EF4-FFF2-40B4-BE49-F238E27FC236}">
                  <a16:creationId xmlns:a16="http://schemas.microsoft.com/office/drawing/2014/main" id="{57C06617-46E5-D9A5-3223-CA2B04A5F41F}"/>
                </a:ext>
              </a:extLst>
            </p:cNvPr>
            <p:cNvPicPr/>
            <p:nvPr/>
          </p:nvPicPr>
          <p:blipFill>
            <a:blip r:embed="rId2" cstate="print"/>
            <a:stretch>
              <a:fillRect/>
            </a:stretch>
          </p:blipFill>
          <p:spPr>
            <a:xfrm>
              <a:off x="813371" y="945388"/>
              <a:ext cx="5028628" cy="4495228"/>
            </a:xfrm>
            <a:prstGeom prst="rect">
              <a:avLst/>
            </a:prstGeom>
          </p:spPr>
        </p:pic>
        <p:sp>
          <p:nvSpPr>
            <p:cNvPr id="9" name="object 4">
              <a:extLst>
                <a:ext uri="{FF2B5EF4-FFF2-40B4-BE49-F238E27FC236}">
                  <a16:creationId xmlns:a16="http://schemas.microsoft.com/office/drawing/2014/main" id="{CECB6D33-678B-C3D2-B22A-CF9280FAEF67}"/>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pic>
        <p:nvPicPr>
          <p:cNvPr id="4" name="object 3">
            <a:extLst>
              <a:ext uri="{FF2B5EF4-FFF2-40B4-BE49-F238E27FC236}">
                <a16:creationId xmlns:a16="http://schemas.microsoft.com/office/drawing/2014/main" id="{3DF2DCA4-7047-1011-AB3A-B01B6D8D161F}"/>
              </a:ext>
            </a:extLst>
          </p:cNvPr>
          <p:cNvPicPr/>
          <p:nvPr userDrawn="1"/>
        </p:nvPicPr>
        <p:blipFill>
          <a:blip r:embed="rId3" cstate="print"/>
          <a:stretch>
            <a:fillRect/>
          </a:stretch>
        </p:blipFill>
        <p:spPr>
          <a:xfrm>
            <a:off x="0" y="945387"/>
            <a:ext cx="5842000" cy="4495228"/>
          </a:xfrm>
          <a:prstGeom prst="rect">
            <a:avLst/>
          </a:prstGeom>
        </p:spPr>
      </p:pic>
      <p:sp>
        <p:nvSpPr>
          <p:cNvPr id="5" name="object 4">
            <a:extLst>
              <a:ext uri="{FF2B5EF4-FFF2-40B4-BE49-F238E27FC236}">
                <a16:creationId xmlns:a16="http://schemas.microsoft.com/office/drawing/2014/main" id="{164F495E-B385-662B-9FDE-54599DDFE214}"/>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ja-JP" altLang="en-US"/>
              <a:t>（役職）指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a:solidFill>
                  <a:schemeClr val="bg1"/>
                </a:solidFill>
                <a:latin typeface="Meiryo UI" panose="020B0604030504040204" pitchFamily="34" charset="-128"/>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10" name="LOGO" descr="テキスト&#10;&#10;自動的に生成された説明">
            <a:extLst>
              <a:ext uri="{FF2B5EF4-FFF2-40B4-BE49-F238E27FC236}">
                <a16:creationId xmlns:a16="http://schemas.microsoft.com/office/drawing/2014/main" id="{2F1AB5BC-9B6B-6B25-E6D9-6033879772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9113" y="4501149"/>
            <a:ext cx="777105" cy="509781"/>
          </a:xfrm>
          <a:prstGeom prst="rect">
            <a:avLst/>
          </a:prstGeom>
        </p:spPr>
      </p:pic>
      <p:sp>
        <p:nvSpPr>
          <p:cNvPr id="11" name="object 13">
            <a:extLst>
              <a:ext uri="{FF2B5EF4-FFF2-40B4-BE49-F238E27FC236}">
                <a16:creationId xmlns:a16="http://schemas.microsoft.com/office/drawing/2014/main" id="{3FB4366F-D449-8B34-DC04-2022D1832753}"/>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12" name="object 12">
            <a:extLst>
              <a:ext uri="{FF2B5EF4-FFF2-40B4-BE49-F238E27FC236}">
                <a16:creationId xmlns:a16="http://schemas.microsoft.com/office/drawing/2014/main" id="{047A8F08-C9B5-B681-AE6A-B3501DBCC587}"/>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21311805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目次_A">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lvl1pPr>
              <a:defRPr b="0" i="0">
                <a:latin typeface="Segoe UI" panose="020B0502040204020203" pitchFamily="34" charset="0"/>
                <a:cs typeface="Segoe UI" panose="020B0502040204020203" pitchFamily="34" charset="0"/>
              </a:defRPr>
            </a:lvl1pPr>
          </a:lstStyle>
          <a:p>
            <a:r>
              <a:rPr kumimoji="1" lang="en-US" altLang="ja-JP"/>
              <a:t>‹#›</a:t>
            </a: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1pPr>
            <a:lvl2pPr marL="8001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2pPr>
            <a:lvl3pPr marL="12573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3pPr>
            <a:lvl4pPr marL="17145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4pPr>
            <a:lvl5pPr marL="21717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a:solidFill>
                  <a:schemeClr val="tx2"/>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2" name="object 2">
            <a:extLst>
              <a:ext uri="{FF2B5EF4-FFF2-40B4-BE49-F238E27FC236}">
                <a16:creationId xmlns:a16="http://schemas.microsoft.com/office/drawing/2014/main" id="{33DFCD49-E1FC-DD83-7AA3-3161AF9C0D55}"/>
              </a:ext>
            </a:extLst>
          </p:cNvPr>
          <p:cNvSpPr/>
          <p:nvPr userDrawn="1"/>
        </p:nvSpPr>
        <p:spPr>
          <a:xfrm>
            <a:off x="4571504" y="945388"/>
            <a:ext cx="25400" cy="4495800"/>
          </a:xfrm>
          <a:custGeom>
            <a:avLst/>
            <a:gdLst/>
            <a:ahLst/>
            <a:cxnLst/>
            <a:rect l="l" t="t" r="r" b="b"/>
            <a:pathLst>
              <a:path w="25400" h="4495800">
                <a:moveTo>
                  <a:pt x="25400" y="0"/>
                </a:moveTo>
                <a:lnTo>
                  <a:pt x="0" y="0"/>
                </a:lnTo>
                <a:lnTo>
                  <a:pt x="0" y="4495228"/>
                </a:lnTo>
                <a:lnTo>
                  <a:pt x="25400" y="4495228"/>
                </a:lnTo>
                <a:lnTo>
                  <a:pt x="25400" y="0"/>
                </a:lnTo>
                <a:close/>
              </a:path>
            </a:pathLst>
          </a:custGeom>
          <a:solidFill>
            <a:srgbClr val="0081CC"/>
          </a:solidFill>
        </p:spPr>
        <p:txBody>
          <a:bodyPr wrap="square" lIns="0" tIns="0" rIns="0" bIns="0" rtlCol="0"/>
          <a:lstStyle/>
          <a:p>
            <a:endParaRPr/>
          </a:p>
        </p:txBody>
      </p:sp>
      <p:pic>
        <p:nvPicPr>
          <p:cNvPr id="3" name="object 3">
            <a:extLst>
              <a:ext uri="{FF2B5EF4-FFF2-40B4-BE49-F238E27FC236}">
                <a16:creationId xmlns:a16="http://schemas.microsoft.com/office/drawing/2014/main" id="{B063A95D-A297-62F4-3F0D-416554F7E5AC}"/>
              </a:ext>
            </a:extLst>
          </p:cNvPr>
          <p:cNvPicPr/>
          <p:nvPr userDrawn="1"/>
        </p:nvPicPr>
        <p:blipFill>
          <a:blip r:embed="rId2" cstate="print"/>
          <a:stretch>
            <a:fillRect/>
          </a:stretch>
        </p:blipFill>
        <p:spPr>
          <a:xfrm>
            <a:off x="0" y="945387"/>
            <a:ext cx="813371" cy="4495228"/>
          </a:xfrm>
          <a:prstGeom prst="rect">
            <a:avLst/>
          </a:prstGeom>
        </p:spPr>
      </p:pic>
    </p:spTree>
    <p:extLst>
      <p:ext uri="{BB962C8B-B14F-4D97-AF65-F5344CB8AC3E}">
        <p14:creationId xmlns:p14="http://schemas.microsoft.com/office/powerpoint/2010/main" val="355838711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目次_B">
    <p:spTree>
      <p:nvGrpSpPr>
        <p:cNvPr id="1" name=""/>
        <p:cNvGrpSpPr/>
        <p:nvPr/>
      </p:nvGrpSpPr>
      <p:grpSpPr>
        <a:xfrm>
          <a:off x="0" y="0"/>
          <a:ext cx="0" cy="0"/>
          <a:chOff x="0" y="0"/>
          <a:chExt cx="0" cy="0"/>
        </a:xfrm>
      </p:grpSpPr>
      <p:grpSp>
        <p:nvGrpSpPr>
          <p:cNvPr id="3" name="object 2">
            <a:extLst>
              <a:ext uri="{FF2B5EF4-FFF2-40B4-BE49-F238E27FC236}">
                <a16:creationId xmlns:a16="http://schemas.microsoft.com/office/drawing/2014/main" id="{930D0121-30C1-6AA2-37A5-33F546D8DA9B}"/>
              </a:ext>
            </a:extLst>
          </p:cNvPr>
          <p:cNvGrpSpPr/>
          <p:nvPr userDrawn="1"/>
        </p:nvGrpSpPr>
        <p:grpSpPr>
          <a:xfrm>
            <a:off x="0" y="945387"/>
            <a:ext cx="4597400" cy="4495800"/>
            <a:chOff x="0" y="945387"/>
            <a:chExt cx="4597400" cy="4495800"/>
          </a:xfrm>
        </p:grpSpPr>
        <p:pic>
          <p:nvPicPr>
            <p:cNvPr id="4" name="object 3">
              <a:extLst>
                <a:ext uri="{FF2B5EF4-FFF2-40B4-BE49-F238E27FC236}">
                  <a16:creationId xmlns:a16="http://schemas.microsoft.com/office/drawing/2014/main" id="{4D5AC5A5-CDAC-4467-217B-E0D9749EBD6F}"/>
                </a:ext>
              </a:extLst>
            </p:cNvPr>
            <p:cNvPicPr/>
            <p:nvPr/>
          </p:nvPicPr>
          <p:blipFill>
            <a:blip r:embed="rId2" cstate="print"/>
            <a:stretch>
              <a:fillRect/>
            </a:stretch>
          </p:blipFill>
          <p:spPr>
            <a:xfrm>
              <a:off x="813371" y="945387"/>
              <a:ext cx="3783533" cy="4495228"/>
            </a:xfrm>
            <a:prstGeom prst="rect">
              <a:avLst/>
            </a:prstGeom>
          </p:spPr>
        </p:pic>
        <p:sp>
          <p:nvSpPr>
            <p:cNvPr id="5" name="object 4">
              <a:extLst>
                <a:ext uri="{FF2B5EF4-FFF2-40B4-BE49-F238E27FC236}">
                  <a16:creationId xmlns:a16="http://schemas.microsoft.com/office/drawing/2014/main" id="{D5E15685-ACF9-62A7-FC8B-96457352763B}"/>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lvl1pPr>
              <a:defRPr b="0" i="0">
                <a:latin typeface="Segoe UI" panose="020B0502040204020203" pitchFamily="34" charset="0"/>
                <a:cs typeface="Segoe UI" panose="020B0502040204020203" pitchFamily="34" charset="0"/>
              </a:defRPr>
            </a:lvl1pPr>
          </a:lstStyle>
          <a:p>
            <a:r>
              <a:rPr kumimoji="1" lang="en-US" altLang="ja-JP"/>
              <a:t>‹#›</a:t>
            </a: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1pPr>
            <a:lvl2pPr marL="8001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2pPr>
            <a:lvl3pPr marL="12573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3pPr>
            <a:lvl4pPr marL="17145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4pPr>
            <a:lvl5pPr marL="21717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14798590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中表紙_A">
    <p:spTree>
      <p:nvGrpSpPr>
        <p:cNvPr id="1" name=""/>
        <p:cNvGrpSpPr/>
        <p:nvPr/>
      </p:nvGrpSpPr>
      <p:grpSpPr>
        <a:xfrm>
          <a:off x="0" y="0"/>
          <a:ext cx="0" cy="0"/>
          <a:chOff x="0" y="0"/>
          <a:chExt cx="0" cy="0"/>
        </a:xfrm>
      </p:grpSpPr>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lvl1pPr>
              <a:defRPr b="0" i="0">
                <a:latin typeface="Segoe UI" panose="020B0502040204020203" pitchFamily="34" charset="0"/>
                <a:cs typeface="Segoe UI" panose="020B0502040204020203" pitchFamily="34" charset="0"/>
              </a:defRPr>
            </a:lvl1pPr>
          </a:lstStyle>
          <a:p>
            <a:r>
              <a:rPr kumimoji="1" lang="en-US" altLang="ja-JP"/>
              <a:t>‹#›</a:t>
            </a:r>
          </a:p>
        </p:txBody>
      </p:sp>
      <p:sp>
        <p:nvSpPr>
          <p:cNvPr id="3" name="タイトル">
            <a:extLst>
              <a:ext uri="{FF2B5EF4-FFF2-40B4-BE49-F238E27FC236}">
                <a16:creationId xmlns:a16="http://schemas.microsoft.com/office/drawing/2014/main" id="{C7975F62-56BC-5323-200D-B3DA4BB315BF}"/>
              </a:ext>
            </a:extLst>
          </p:cNvPr>
          <p:cNvSpPr>
            <a:spLocks noGrp="1"/>
          </p:cNvSpPr>
          <p:nvPr>
            <p:ph type="title"/>
          </p:nvPr>
        </p:nvSpPr>
        <p:spPr>
          <a:xfrm>
            <a:off x="1194372" y="970788"/>
            <a:ext cx="4648199" cy="4444428"/>
          </a:xfrm>
        </p:spPr>
        <p:txBody>
          <a:bodyPr anchor="ctr" anchorCtr="0">
            <a:noAutofit/>
          </a:bodyPr>
          <a:lstStyle>
            <a:lvl1pPr algn="l">
              <a:defRPr sz="2400" b="1" i="0" spc="0">
                <a:solidFill>
                  <a:schemeClr val="tx2"/>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pic>
        <p:nvPicPr>
          <p:cNvPr id="2" name="object 2">
            <a:extLst>
              <a:ext uri="{FF2B5EF4-FFF2-40B4-BE49-F238E27FC236}">
                <a16:creationId xmlns:a16="http://schemas.microsoft.com/office/drawing/2014/main" id="{17AE3CFA-653A-1522-6DBF-1A5AFE2544BA}"/>
              </a:ext>
            </a:extLst>
          </p:cNvPr>
          <p:cNvPicPr/>
          <p:nvPr userDrawn="1"/>
        </p:nvPicPr>
        <p:blipFill>
          <a:blip r:embed="rId2" cstate="print"/>
          <a:stretch>
            <a:fillRect/>
          </a:stretch>
        </p:blipFill>
        <p:spPr>
          <a:xfrm>
            <a:off x="0" y="945387"/>
            <a:ext cx="813371" cy="4495228"/>
          </a:xfrm>
          <a:prstGeom prst="rect">
            <a:avLst/>
          </a:prstGeom>
        </p:spPr>
      </p:pic>
      <p:sp>
        <p:nvSpPr>
          <p:cNvPr id="4" name="object 3">
            <a:extLst>
              <a:ext uri="{FF2B5EF4-FFF2-40B4-BE49-F238E27FC236}">
                <a16:creationId xmlns:a16="http://schemas.microsoft.com/office/drawing/2014/main" id="{E4620FE6-B275-64BD-DC0C-F0BB9980B0C0}"/>
              </a:ext>
            </a:extLst>
          </p:cNvPr>
          <p:cNvSpPr/>
          <p:nvPr userDrawn="1"/>
        </p:nvSpPr>
        <p:spPr>
          <a:xfrm>
            <a:off x="1194371" y="945388"/>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
        <p:nvSpPr>
          <p:cNvPr id="5" name="object 4">
            <a:extLst>
              <a:ext uri="{FF2B5EF4-FFF2-40B4-BE49-F238E27FC236}">
                <a16:creationId xmlns:a16="http://schemas.microsoft.com/office/drawing/2014/main" id="{3B47303A-EB95-4FD9-0B03-4C15806D16EF}"/>
              </a:ext>
            </a:extLst>
          </p:cNvPr>
          <p:cNvSpPr/>
          <p:nvPr userDrawn="1"/>
        </p:nvSpPr>
        <p:spPr>
          <a:xfrm>
            <a:off x="1194371" y="5415216"/>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Tree>
    <p:extLst>
      <p:ext uri="{BB962C8B-B14F-4D97-AF65-F5344CB8AC3E}">
        <p14:creationId xmlns:p14="http://schemas.microsoft.com/office/powerpoint/2010/main" val="71526751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中表紙_B">
    <p:spTree>
      <p:nvGrpSpPr>
        <p:cNvPr id="1" name=""/>
        <p:cNvGrpSpPr/>
        <p:nvPr/>
      </p:nvGrpSpPr>
      <p:grpSpPr>
        <a:xfrm>
          <a:off x="0" y="0"/>
          <a:ext cx="0" cy="0"/>
          <a:chOff x="0" y="0"/>
          <a:chExt cx="0" cy="0"/>
        </a:xfrm>
      </p:grpSpPr>
      <p:grpSp>
        <p:nvGrpSpPr>
          <p:cNvPr id="2" name="object 2">
            <a:extLst>
              <a:ext uri="{FF2B5EF4-FFF2-40B4-BE49-F238E27FC236}">
                <a16:creationId xmlns:a16="http://schemas.microsoft.com/office/drawing/2014/main" id="{79539DD8-E216-35BF-84FE-EC92636F953D}"/>
              </a:ext>
            </a:extLst>
          </p:cNvPr>
          <p:cNvGrpSpPr/>
          <p:nvPr userDrawn="1"/>
        </p:nvGrpSpPr>
        <p:grpSpPr>
          <a:xfrm>
            <a:off x="0" y="945388"/>
            <a:ext cx="5842000" cy="4495800"/>
            <a:chOff x="0" y="945388"/>
            <a:chExt cx="5842000" cy="4495800"/>
          </a:xfrm>
        </p:grpSpPr>
        <p:pic>
          <p:nvPicPr>
            <p:cNvPr id="4" name="object 3">
              <a:extLst>
                <a:ext uri="{FF2B5EF4-FFF2-40B4-BE49-F238E27FC236}">
                  <a16:creationId xmlns:a16="http://schemas.microsoft.com/office/drawing/2014/main" id="{0B57F955-76D1-A3CF-285B-113AEE3EC193}"/>
                </a:ext>
              </a:extLst>
            </p:cNvPr>
            <p:cNvPicPr/>
            <p:nvPr/>
          </p:nvPicPr>
          <p:blipFill>
            <a:blip r:embed="rId2" cstate="print"/>
            <a:stretch>
              <a:fillRect/>
            </a:stretch>
          </p:blipFill>
          <p:spPr>
            <a:xfrm>
              <a:off x="813371" y="945388"/>
              <a:ext cx="5028628" cy="4495228"/>
            </a:xfrm>
            <a:prstGeom prst="rect">
              <a:avLst/>
            </a:prstGeom>
          </p:spPr>
        </p:pic>
        <p:sp>
          <p:nvSpPr>
            <p:cNvPr id="5" name="object 4">
              <a:extLst>
                <a:ext uri="{FF2B5EF4-FFF2-40B4-BE49-F238E27FC236}">
                  <a16:creationId xmlns:a16="http://schemas.microsoft.com/office/drawing/2014/main" id="{91E80E5D-13D9-32C7-73EC-5589ECFD8066}"/>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lvl1pPr>
              <a:defRPr b="0" i="0">
                <a:latin typeface="Segoe UI" panose="020B0502040204020203" pitchFamily="34" charset="0"/>
                <a:cs typeface="Segoe UI" panose="020B0502040204020203" pitchFamily="34" charset="0"/>
              </a:defRPr>
            </a:lvl1pPr>
          </a:lstStyle>
          <a:p>
            <a:r>
              <a:rPr kumimoji="1" lang="en-US" altLang="ja-JP"/>
              <a:t>‹#›</a:t>
            </a:r>
          </a:p>
        </p:txBody>
      </p:sp>
      <p:sp>
        <p:nvSpPr>
          <p:cNvPr id="3" name="タイトル">
            <a:extLst>
              <a:ext uri="{FF2B5EF4-FFF2-40B4-BE49-F238E27FC236}">
                <a16:creationId xmlns:a16="http://schemas.microsoft.com/office/drawing/2014/main" id="{C7975F62-56BC-5323-200D-B3DA4BB315BF}"/>
              </a:ext>
            </a:extLst>
          </p:cNvPr>
          <p:cNvSpPr>
            <a:spLocks noGrp="1"/>
          </p:cNvSpPr>
          <p:nvPr>
            <p:ph type="title"/>
          </p:nvPr>
        </p:nvSpPr>
        <p:spPr>
          <a:xfrm>
            <a:off x="1194373" y="970788"/>
            <a:ext cx="4266912" cy="4444428"/>
          </a:xfrm>
        </p:spPr>
        <p:txBody>
          <a:bodyPr anchor="ctr" anchorCtr="0">
            <a:noAutofit/>
          </a:bodyPr>
          <a:lstStyle>
            <a:lvl1pPr algn="l">
              <a:defRPr sz="2400" b="1" i="0" spc="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3200519106"/>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本文_ナンバー入り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F4399D90-F9AD-0F8F-E50F-B4D1C90D120A}"/>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2" name="ナンバー">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5" name="BAM_LOGO" descr="アイコン&#10;&#10;自動的に生成された説明">
            <a:extLst>
              <a:ext uri="{FF2B5EF4-FFF2-40B4-BE49-F238E27FC236}">
                <a16:creationId xmlns:a16="http://schemas.microsoft.com/office/drawing/2014/main" id="{889B3466-9022-4CEA-6D52-E95DA4D394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265331879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本文_ナンバー入り">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F4399D90-F9AD-0F8F-E50F-B4D1C90D120A}"/>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2" name="ナンバー">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5400458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本文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pic>
        <p:nvPicPr>
          <p:cNvPr id="5" name="BAM_LOGO" descr="アイコン&#10;&#10;自動的に生成された説明">
            <a:extLst>
              <a:ext uri="{FF2B5EF4-FFF2-40B4-BE49-F238E27FC236}">
                <a16:creationId xmlns:a16="http://schemas.microsoft.com/office/drawing/2014/main" id="{B512E199-7640-C4BF-75F5-CB2F5BEB6C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26638169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__5_タイトル1段">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9DC0F0D7-3FC6-CE32-0357-F4049614D3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5</a:t>
            </a:r>
          </a:p>
        </p:txBody>
      </p:sp>
    </p:spTree>
    <p:extLst>
      <p:ext uri="{BB962C8B-B14F-4D97-AF65-F5344CB8AC3E}">
        <p14:creationId xmlns:p14="http://schemas.microsoft.com/office/powerpoint/2010/main" val="213446949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本文">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284255405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本文_白紙_BAM">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pic>
        <p:nvPicPr>
          <p:cNvPr id="2" name="BAM_LOGO" descr="アイコン&#10;&#10;自動的に生成された説明">
            <a:extLst>
              <a:ext uri="{FF2B5EF4-FFF2-40B4-BE49-F238E27FC236}">
                <a16:creationId xmlns:a16="http://schemas.microsoft.com/office/drawing/2014/main" id="{4FD953A0-0DA5-5E36-2B38-54A6A9AF5D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261505771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本文_白紙">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Tree>
    <p:extLst>
      <p:ext uri="{BB962C8B-B14F-4D97-AF65-F5344CB8AC3E}">
        <p14:creationId xmlns:p14="http://schemas.microsoft.com/office/powerpoint/2010/main" val="353281160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66547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表紙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BAECB58-339C-F86C-5CB0-DEEDF8DFAD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ja-JP" altLang="en-US"/>
              <a:t>（役職）氏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baseline="0">
                <a:solidFill>
                  <a:schemeClr val="bg1"/>
                </a:solidFill>
                <a:latin typeface="Segoe UI" panose="020B0502040204020203" pitchFamily="34" charset="0"/>
                <a:ea typeface="Meiryo UI" panose="020B0604030504040204" pitchFamily="50"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baseline="0">
                <a:solidFill>
                  <a:schemeClr val="bg1"/>
                </a:solidFill>
                <a:latin typeface="Segoe UI" panose="020B0502040204020203" pitchFamily="34" charset="0"/>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4" name="LOGO" descr="テキスト&#10;&#10;自動的に生成された説明">
            <a:extLst>
              <a:ext uri="{FF2B5EF4-FFF2-40B4-BE49-F238E27FC236}">
                <a16:creationId xmlns:a16="http://schemas.microsoft.com/office/drawing/2014/main" id="{5B1F2DFA-201B-AC5B-7854-C7896AFF1A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939113" y="4501149"/>
            <a:ext cx="777105" cy="509781"/>
          </a:xfrm>
          <a:prstGeom prst="rect">
            <a:avLst/>
          </a:prstGeom>
        </p:spPr>
      </p:pic>
      <p:sp>
        <p:nvSpPr>
          <p:cNvPr id="5" name="object 13">
            <a:extLst>
              <a:ext uri="{FF2B5EF4-FFF2-40B4-BE49-F238E27FC236}">
                <a16:creationId xmlns:a16="http://schemas.microsoft.com/office/drawing/2014/main" id="{417D132C-783A-C000-F77C-7588E3BF021B}"/>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D49FA8D5-B242-1EED-B7B4-99663359D875}"/>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117357282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表紙_B">
    <p:spTree>
      <p:nvGrpSpPr>
        <p:cNvPr id="1" name=""/>
        <p:cNvGrpSpPr/>
        <p:nvPr/>
      </p:nvGrpSpPr>
      <p:grpSpPr>
        <a:xfrm>
          <a:off x="0" y="0"/>
          <a:ext cx="0" cy="0"/>
          <a:chOff x="0" y="0"/>
          <a:chExt cx="0" cy="0"/>
        </a:xfrm>
      </p:grpSpPr>
      <p:grpSp>
        <p:nvGrpSpPr>
          <p:cNvPr id="6" name="object 2">
            <a:extLst>
              <a:ext uri="{FF2B5EF4-FFF2-40B4-BE49-F238E27FC236}">
                <a16:creationId xmlns:a16="http://schemas.microsoft.com/office/drawing/2014/main" id="{8416DBE6-0C4F-B18F-1C57-B9A6CF3B1CF4}"/>
              </a:ext>
            </a:extLst>
          </p:cNvPr>
          <p:cNvGrpSpPr/>
          <p:nvPr userDrawn="1"/>
        </p:nvGrpSpPr>
        <p:grpSpPr>
          <a:xfrm>
            <a:off x="0" y="945388"/>
            <a:ext cx="5842000" cy="4495800"/>
            <a:chOff x="0" y="945388"/>
            <a:chExt cx="5842000" cy="4495800"/>
          </a:xfrm>
        </p:grpSpPr>
        <p:pic>
          <p:nvPicPr>
            <p:cNvPr id="8" name="object 3">
              <a:extLst>
                <a:ext uri="{FF2B5EF4-FFF2-40B4-BE49-F238E27FC236}">
                  <a16:creationId xmlns:a16="http://schemas.microsoft.com/office/drawing/2014/main" id="{57C06617-46E5-D9A5-3223-CA2B04A5F41F}"/>
                </a:ext>
              </a:extLst>
            </p:cNvPr>
            <p:cNvPicPr/>
            <p:nvPr/>
          </p:nvPicPr>
          <p:blipFill>
            <a:blip r:embed="rId2" cstate="print"/>
            <a:stretch>
              <a:fillRect/>
            </a:stretch>
          </p:blipFill>
          <p:spPr>
            <a:xfrm>
              <a:off x="813371" y="945388"/>
              <a:ext cx="5028628" cy="4495228"/>
            </a:xfrm>
            <a:prstGeom prst="rect">
              <a:avLst/>
            </a:prstGeom>
          </p:spPr>
        </p:pic>
        <p:sp>
          <p:nvSpPr>
            <p:cNvPr id="9" name="object 4">
              <a:extLst>
                <a:ext uri="{FF2B5EF4-FFF2-40B4-BE49-F238E27FC236}">
                  <a16:creationId xmlns:a16="http://schemas.microsoft.com/office/drawing/2014/main" id="{CECB6D33-678B-C3D2-B22A-CF9280FAEF67}"/>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pic>
        <p:nvPicPr>
          <p:cNvPr id="4" name="object 3">
            <a:extLst>
              <a:ext uri="{FF2B5EF4-FFF2-40B4-BE49-F238E27FC236}">
                <a16:creationId xmlns:a16="http://schemas.microsoft.com/office/drawing/2014/main" id="{3DF2DCA4-7047-1011-AB3A-B01B6D8D161F}"/>
              </a:ext>
            </a:extLst>
          </p:cNvPr>
          <p:cNvPicPr/>
          <p:nvPr userDrawn="1"/>
        </p:nvPicPr>
        <p:blipFill>
          <a:blip r:embed="rId3" cstate="print"/>
          <a:stretch>
            <a:fillRect/>
          </a:stretch>
        </p:blipFill>
        <p:spPr>
          <a:xfrm>
            <a:off x="0" y="945387"/>
            <a:ext cx="5842000" cy="4495228"/>
          </a:xfrm>
          <a:prstGeom prst="rect">
            <a:avLst/>
          </a:prstGeom>
        </p:spPr>
      </p:pic>
      <p:sp>
        <p:nvSpPr>
          <p:cNvPr id="5" name="object 4">
            <a:extLst>
              <a:ext uri="{FF2B5EF4-FFF2-40B4-BE49-F238E27FC236}">
                <a16:creationId xmlns:a16="http://schemas.microsoft.com/office/drawing/2014/main" id="{164F495E-B385-662B-9FDE-54599DDFE214}"/>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ja-JP" altLang="en-US"/>
              <a:t>（役職）氏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4098"/>
          </a:xfrm>
        </p:spPr>
        <p:txBody>
          <a:bodyPr/>
          <a:lstStyle>
            <a:lvl1pPr algn="ctr">
              <a:defRPr sz="1200" b="0" i="0" baseline="0">
                <a:solidFill>
                  <a:schemeClr val="bg1"/>
                </a:solidFill>
                <a:latin typeface="Segoe UI" panose="020B0502040204020203" pitchFamily="34" charset="0"/>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baseline="0">
                <a:solidFill>
                  <a:schemeClr val="bg1"/>
                </a:solidFill>
                <a:latin typeface="Segoe UI" panose="020B0502040204020203" pitchFamily="34" charset="0"/>
                <a:ea typeface="Meiryo UI" panose="020B0604030504040204" pitchFamily="50"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baseline="0">
                <a:solidFill>
                  <a:schemeClr val="bg1"/>
                </a:solidFill>
                <a:latin typeface="Segoe UI" panose="020B0502040204020203" pitchFamily="34" charset="0"/>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10" name="LOGO" descr="テキスト&#10;&#10;自動的に生成された説明">
            <a:extLst>
              <a:ext uri="{FF2B5EF4-FFF2-40B4-BE49-F238E27FC236}">
                <a16:creationId xmlns:a16="http://schemas.microsoft.com/office/drawing/2014/main" id="{2F1AB5BC-9B6B-6B25-E6D9-6033879772F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939113" y="4501149"/>
            <a:ext cx="777105" cy="509781"/>
          </a:xfrm>
          <a:prstGeom prst="rect">
            <a:avLst/>
          </a:prstGeom>
        </p:spPr>
      </p:pic>
      <p:sp>
        <p:nvSpPr>
          <p:cNvPr id="11" name="object 13">
            <a:extLst>
              <a:ext uri="{FF2B5EF4-FFF2-40B4-BE49-F238E27FC236}">
                <a16:creationId xmlns:a16="http://schemas.microsoft.com/office/drawing/2014/main" id="{3FB4366F-D449-8B34-DC04-2022D1832753}"/>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12" name="object 12">
            <a:extLst>
              <a:ext uri="{FF2B5EF4-FFF2-40B4-BE49-F238E27FC236}">
                <a16:creationId xmlns:a16="http://schemas.microsoft.com/office/drawing/2014/main" id="{047A8F08-C9B5-B681-AE6A-B3501DBCC587}"/>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Tree>
    <p:extLst>
      <p:ext uri="{BB962C8B-B14F-4D97-AF65-F5344CB8AC3E}">
        <p14:creationId xmlns:p14="http://schemas.microsoft.com/office/powerpoint/2010/main" val="225029030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目次_A">
    <p:spTree>
      <p:nvGrpSpPr>
        <p:cNvPr id="1" name=""/>
        <p:cNvGrpSpPr/>
        <p:nvPr/>
      </p:nvGrpSpPr>
      <p:grpSpPr>
        <a:xfrm>
          <a:off x="0" y="0"/>
          <a:ext cx="0" cy="0"/>
          <a:chOff x="0" y="0"/>
          <a:chExt cx="0" cy="0"/>
        </a:xfrm>
      </p:grpSpPr>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1pPr>
            <a:lvl2pPr marL="8001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2pPr>
            <a:lvl3pPr marL="12573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3pPr>
            <a:lvl4pPr marL="17145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4pPr>
            <a:lvl5pPr marL="2171700" indent="-342900">
              <a:spcAft>
                <a:spcPts val="1000"/>
              </a:spcAft>
              <a:buFont typeface="+mj-lt"/>
              <a:buAutoNum type="arabicPeriod"/>
              <a:defRPr sz="1600" b="0" i="0">
                <a:solidFill>
                  <a:schemeClr val="tx1"/>
                </a:solidFill>
                <a:latin typeface="Segoe UI" panose="020B0502040204020203" pitchFamily="34" charset="0"/>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baseline="0">
                <a:solidFill>
                  <a:schemeClr val="tx2"/>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2" name="object 2">
            <a:extLst>
              <a:ext uri="{FF2B5EF4-FFF2-40B4-BE49-F238E27FC236}">
                <a16:creationId xmlns:a16="http://schemas.microsoft.com/office/drawing/2014/main" id="{33DFCD49-E1FC-DD83-7AA3-3161AF9C0D55}"/>
              </a:ext>
            </a:extLst>
          </p:cNvPr>
          <p:cNvSpPr/>
          <p:nvPr userDrawn="1"/>
        </p:nvSpPr>
        <p:spPr>
          <a:xfrm>
            <a:off x="4571504" y="945388"/>
            <a:ext cx="25400" cy="4495800"/>
          </a:xfrm>
          <a:custGeom>
            <a:avLst/>
            <a:gdLst/>
            <a:ahLst/>
            <a:cxnLst/>
            <a:rect l="l" t="t" r="r" b="b"/>
            <a:pathLst>
              <a:path w="25400" h="4495800">
                <a:moveTo>
                  <a:pt x="25400" y="0"/>
                </a:moveTo>
                <a:lnTo>
                  <a:pt x="0" y="0"/>
                </a:lnTo>
                <a:lnTo>
                  <a:pt x="0" y="4495228"/>
                </a:lnTo>
                <a:lnTo>
                  <a:pt x="25400" y="4495228"/>
                </a:lnTo>
                <a:lnTo>
                  <a:pt x="25400" y="0"/>
                </a:lnTo>
                <a:close/>
              </a:path>
            </a:pathLst>
          </a:custGeom>
          <a:solidFill>
            <a:srgbClr val="0081CC"/>
          </a:solidFill>
        </p:spPr>
        <p:txBody>
          <a:bodyPr wrap="square" lIns="0" tIns="0" rIns="0" bIns="0" rtlCol="0"/>
          <a:lstStyle/>
          <a:p>
            <a:endParaRPr/>
          </a:p>
        </p:txBody>
      </p:sp>
      <p:pic>
        <p:nvPicPr>
          <p:cNvPr id="3" name="object 3">
            <a:extLst>
              <a:ext uri="{FF2B5EF4-FFF2-40B4-BE49-F238E27FC236}">
                <a16:creationId xmlns:a16="http://schemas.microsoft.com/office/drawing/2014/main" id="{B063A95D-A297-62F4-3F0D-416554F7E5AC}"/>
              </a:ext>
            </a:extLst>
          </p:cNvPr>
          <p:cNvPicPr/>
          <p:nvPr userDrawn="1"/>
        </p:nvPicPr>
        <p:blipFill>
          <a:blip r:embed="rId2" cstate="print"/>
          <a:stretch>
            <a:fillRect/>
          </a:stretch>
        </p:blipFill>
        <p:spPr>
          <a:xfrm>
            <a:off x="0" y="945387"/>
            <a:ext cx="813371" cy="4495228"/>
          </a:xfrm>
          <a:prstGeom prst="rect">
            <a:avLst/>
          </a:prstGeom>
        </p:spPr>
      </p:pic>
    </p:spTree>
    <p:extLst>
      <p:ext uri="{BB962C8B-B14F-4D97-AF65-F5344CB8AC3E}">
        <p14:creationId xmlns:p14="http://schemas.microsoft.com/office/powerpoint/2010/main" val="315849191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目次_B">
    <p:spTree>
      <p:nvGrpSpPr>
        <p:cNvPr id="1" name=""/>
        <p:cNvGrpSpPr/>
        <p:nvPr/>
      </p:nvGrpSpPr>
      <p:grpSpPr>
        <a:xfrm>
          <a:off x="0" y="0"/>
          <a:ext cx="0" cy="0"/>
          <a:chOff x="0" y="0"/>
          <a:chExt cx="0" cy="0"/>
        </a:xfrm>
      </p:grpSpPr>
      <p:grpSp>
        <p:nvGrpSpPr>
          <p:cNvPr id="3" name="object 2">
            <a:extLst>
              <a:ext uri="{FF2B5EF4-FFF2-40B4-BE49-F238E27FC236}">
                <a16:creationId xmlns:a16="http://schemas.microsoft.com/office/drawing/2014/main" id="{930D0121-30C1-6AA2-37A5-33F546D8DA9B}"/>
              </a:ext>
            </a:extLst>
          </p:cNvPr>
          <p:cNvGrpSpPr/>
          <p:nvPr userDrawn="1"/>
        </p:nvGrpSpPr>
        <p:grpSpPr>
          <a:xfrm>
            <a:off x="0" y="945387"/>
            <a:ext cx="4597400" cy="4495800"/>
            <a:chOff x="0" y="945387"/>
            <a:chExt cx="4597400" cy="4495800"/>
          </a:xfrm>
        </p:grpSpPr>
        <p:pic>
          <p:nvPicPr>
            <p:cNvPr id="4" name="object 3">
              <a:extLst>
                <a:ext uri="{FF2B5EF4-FFF2-40B4-BE49-F238E27FC236}">
                  <a16:creationId xmlns:a16="http://schemas.microsoft.com/office/drawing/2014/main" id="{4D5AC5A5-CDAC-4467-217B-E0D9749EBD6F}"/>
                </a:ext>
              </a:extLst>
            </p:cNvPr>
            <p:cNvPicPr/>
            <p:nvPr/>
          </p:nvPicPr>
          <p:blipFill>
            <a:blip r:embed="rId2" cstate="print"/>
            <a:stretch>
              <a:fillRect/>
            </a:stretch>
          </p:blipFill>
          <p:spPr>
            <a:xfrm>
              <a:off x="813371" y="945387"/>
              <a:ext cx="3783533" cy="4495228"/>
            </a:xfrm>
            <a:prstGeom prst="rect">
              <a:avLst/>
            </a:prstGeom>
          </p:spPr>
        </p:pic>
        <p:sp>
          <p:nvSpPr>
            <p:cNvPr id="5" name="object 4">
              <a:extLst>
                <a:ext uri="{FF2B5EF4-FFF2-40B4-BE49-F238E27FC236}">
                  <a16:creationId xmlns:a16="http://schemas.microsoft.com/office/drawing/2014/main" id="{D5E15685-ACF9-62A7-FC8B-96457352763B}"/>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1pPr>
            <a:lvl2pPr marL="8001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2pPr>
            <a:lvl3pPr marL="12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3pPr>
            <a:lvl4pPr marL="17145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4pPr>
            <a:lvl5pPr marL="21717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29019333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中表紙_A">
    <p:spTree>
      <p:nvGrpSpPr>
        <p:cNvPr id="1" name=""/>
        <p:cNvGrpSpPr/>
        <p:nvPr/>
      </p:nvGrpSpPr>
      <p:grpSpPr>
        <a:xfrm>
          <a:off x="0" y="0"/>
          <a:ext cx="0" cy="0"/>
          <a:chOff x="0" y="0"/>
          <a:chExt cx="0" cy="0"/>
        </a:xfrm>
      </p:grpSpPr>
      <p:sp>
        <p:nvSpPr>
          <p:cNvPr id="3" name="タイトル">
            <a:extLst>
              <a:ext uri="{FF2B5EF4-FFF2-40B4-BE49-F238E27FC236}">
                <a16:creationId xmlns:a16="http://schemas.microsoft.com/office/drawing/2014/main" id="{C7975F62-56BC-5323-200D-B3DA4BB315BF}"/>
              </a:ext>
            </a:extLst>
          </p:cNvPr>
          <p:cNvSpPr>
            <a:spLocks noGrp="1"/>
          </p:cNvSpPr>
          <p:nvPr>
            <p:ph type="title"/>
          </p:nvPr>
        </p:nvSpPr>
        <p:spPr>
          <a:xfrm>
            <a:off x="1194372" y="970788"/>
            <a:ext cx="4648199" cy="4444428"/>
          </a:xfrm>
        </p:spPr>
        <p:txBody>
          <a:bodyPr anchor="ctr" anchorCtr="0">
            <a:noAutofit/>
          </a:bodyPr>
          <a:lstStyle>
            <a:lvl1pPr algn="l">
              <a:defRPr sz="2400" b="1" i="0" spc="0" baseline="0">
                <a:solidFill>
                  <a:schemeClr val="tx2"/>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pic>
        <p:nvPicPr>
          <p:cNvPr id="2" name="object 2">
            <a:extLst>
              <a:ext uri="{FF2B5EF4-FFF2-40B4-BE49-F238E27FC236}">
                <a16:creationId xmlns:a16="http://schemas.microsoft.com/office/drawing/2014/main" id="{17AE3CFA-653A-1522-6DBF-1A5AFE2544BA}"/>
              </a:ext>
            </a:extLst>
          </p:cNvPr>
          <p:cNvPicPr/>
          <p:nvPr userDrawn="1"/>
        </p:nvPicPr>
        <p:blipFill>
          <a:blip r:embed="rId2" cstate="print"/>
          <a:stretch>
            <a:fillRect/>
          </a:stretch>
        </p:blipFill>
        <p:spPr>
          <a:xfrm>
            <a:off x="0" y="945387"/>
            <a:ext cx="813371" cy="4495228"/>
          </a:xfrm>
          <a:prstGeom prst="rect">
            <a:avLst/>
          </a:prstGeom>
        </p:spPr>
      </p:pic>
      <p:sp>
        <p:nvSpPr>
          <p:cNvPr id="4" name="object 3">
            <a:extLst>
              <a:ext uri="{FF2B5EF4-FFF2-40B4-BE49-F238E27FC236}">
                <a16:creationId xmlns:a16="http://schemas.microsoft.com/office/drawing/2014/main" id="{E4620FE6-B275-64BD-DC0C-F0BB9980B0C0}"/>
              </a:ext>
            </a:extLst>
          </p:cNvPr>
          <p:cNvSpPr/>
          <p:nvPr userDrawn="1"/>
        </p:nvSpPr>
        <p:spPr>
          <a:xfrm>
            <a:off x="1194371" y="945388"/>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
        <p:nvSpPr>
          <p:cNvPr id="5" name="object 4">
            <a:extLst>
              <a:ext uri="{FF2B5EF4-FFF2-40B4-BE49-F238E27FC236}">
                <a16:creationId xmlns:a16="http://schemas.microsoft.com/office/drawing/2014/main" id="{3B47303A-EB95-4FD9-0B03-4C15806D16EF}"/>
              </a:ext>
            </a:extLst>
          </p:cNvPr>
          <p:cNvSpPr/>
          <p:nvPr userDrawn="1"/>
        </p:nvSpPr>
        <p:spPr>
          <a:xfrm>
            <a:off x="1194371" y="5415216"/>
            <a:ext cx="4648200" cy="25400"/>
          </a:xfrm>
          <a:custGeom>
            <a:avLst/>
            <a:gdLst/>
            <a:ahLst/>
            <a:cxnLst/>
            <a:rect l="l" t="t" r="r" b="b"/>
            <a:pathLst>
              <a:path w="4648200" h="25400">
                <a:moveTo>
                  <a:pt x="4647628" y="0"/>
                </a:moveTo>
                <a:lnTo>
                  <a:pt x="0" y="0"/>
                </a:lnTo>
                <a:lnTo>
                  <a:pt x="0" y="25400"/>
                </a:lnTo>
                <a:lnTo>
                  <a:pt x="4647628" y="25400"/>
                </a:lnTo>
                <a:lnTo>
                  <a:pt x="4647628" y="0"/>
                </a:lnTo>
                <a:close/>
              </a:path>
            </a:pathLst>
          </a:custGeom>
          <a:solidFill>
            <a:srgbClr val="0081CC"/>
          </a:solidFill>
        </p:spPr>
        <p:txBody>
          <a:bodyPr wrap="square" lIns="0" tIns="0" rIns="0" bIns="0" rtlCol="0"/>
          <a:lstStyle/>
          <a:p>
            <a:endParaRPr/>
          </a:p>
        </p:txBody>
      </p:sp>
    </p:spTree>
    <p:extLst>
      <p:ext uri="{BB962C8B-B14F-4D97-AF65-F5344CB8AC3E}">
        <p14:creationId xmlns:p14="http://schemas.microsoft.com/office/powerpoint/2010/main" val="414835370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中表紙_B">
    <p:spTree>
      <p:nvGrpSpPr>
        <p:cNvPr id="1" name=""/>
        <p:cNvGrpSpPr/>
        <p:nvPr/>
      </p:nvGrpSpPr>
      <p:grpSpPr>
        <a:xfrm>
          <a:off x="0" y="0"/>
          <a:ext cx="0" cy="0"/>
          <a:chOff x="0" y="0"/>
          <a:chExt cx="0" cy="0"/>
        </a:xfrm>
      </p:grpSpPr>
      <p:grpSp>
        <p:nvGrpSpPr>
          <p:cNvPr id="2" name="object 2">
            <a:extLst>
              <a:ext uri="{FF2B5EF4-FFF2-40B4-BE49-F238E27FC236}">
                <a16:creationId xmlns:a16="http://schemas.microsoft.com/office/drawing/2014/main" id="{79539DD8-E216-35BF-84FE-EC92636F953D}"/>
              </a:ext>
            </a:extLst>
          </p:cNvPr>
          <p:cNvGrpSpPr/>
          <p:nvPr userDrawn="1"/>
        </p:nvGrpSpPr>
        <p:grpSpPr>
          <a:xfrm>
            <a:off x="0" y="945388"/>
            <a:ext cx="5842000" cy="4495800"/>
            <a:chOff x="0" y="945388"/>
            <a:chExt cx="5842000" cy="4495800"/>
          </a:xfrm>
        </p:grpSpPr>
        <p:pic>
          <p:nvPicPr>
            <p:cNvPr id="4" name="object 3">
              <a:extLst>
                <a:ext uri="{FF2B5EF4-FFF2-40B4-BE49-F238E27FC236}">
                  <a16:creationId xmlns:a16="http://schemas.microsoft.com/office/drawing/2014/main" id="{0B57F955-76D1-A3CF-285B-113AEE3EC193}"/>
                </a:ext>
              </a:extLst>
            </p:cNvPr>
            <p:cNvPicPr/>
            <p:nvPr/>
          </p:nvPicPr>
          <p:blipFill>
            <a:blip r:embed="rId2" cstate="print"/>
            <a:stretch>
              <a:fillRect/>
            </a:stretch>
          </p:blipFill>
          <p:spPr>
            <a:xfrm>
              <a:off x="813371" y="945388"/>
              <a:ext cx="5028628" cy="4495228"/>
            </a:xfrm>
            <a:prstGeom prst="rect">
              <a:avLst/>
            </a:prstGeom>
          </p:spPr>
        </p:pic>
        <p:sp>
          <p:nvSpPr>
            <p:cNvPr id="5" name="object 4">
              <a:extLst>
                <a:ext uri="{FF2B5EF4-FFF2-40B4-BE49-F238E27FC236}">
                  <a16:creationId xmlns:a16="http://schemas.microsoft.com/office/drawing/2014/main" id="{91E80E5D-13D9-32C7-73EC-5589ECFD8066}"/>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3" name="タイトル">
            <a:extLst>
              <a:ext uri="{FF2B5EF4-FFF2-40B4-BE49-F238E27FC236}">
                <a16:creationId xmlns:a16="http://schemas.microsoft.com/office/drawing/2014/main" id="{C7975F62-56BC-5323-200D-B3DA4BB315BF}"/>
              </a:ext>
            </a:extLst>
          </p:cNvPr>
          <p:cNvSpPr>
            <a:spLocks noGrp="1"/>
          </p:cNvSpPr>
          <p:nvPr>
            <p:ph type="title"/>
          </p:nvPr>
        </p:nvSpPr>
        <p:spPr>
          <a:xfrm>
            <a:off x="1194373" y="970788"/>
            <a:ext cx="4266912" cy="4444428"/>
          </a:xfrm>
        </p:spPr>
        <p:txBody>
          <a:bodyPr anchor="ctr" anchorCtr="0">
            <a:noAutofit/>
          </a:bodyPr>
          <a:lstStyle>
            <a:lvl1pPr algn="l">
              <a:defRPr sz="2400" b="1" i="0" spc="0" baseline="0">
                <a:solidFill>
                  <a:schemeClr val="bg1"/>
                </a:solidFill>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2362952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__5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5</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5" name="図 4">
            <a:extLst>
              <a:ext uri="{FF2B5EF4-FFF2-40B4-BE49-F238E27FC236}">
                <a16:creationId xmlns:a16="http://schemas.microsoft.com/office/drawing/2014/main" id="{D5A6D668-4BDC-064C-89A6-B6D715A5655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17511108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本文_ナンバー入り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F4399D90-F9AD-0F8F-E50F-B4D1C90D120A}"/>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2" name="ナンバー">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5" name="BAM_LOGO" descr="アイコン&#10;&#10;自動的に生成された説明">
            <a:extLst>
              <a:ext uri="{FF2B5EF4-FFF2-40B4-BE49-F238E27FC236}">
                <a16:creationId xmlns:a16="http://schemas.microsoft.com/office/drawing/2014/main" id="{889B3466-9022-4CEA-6D52-E95DA4D3940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17763083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本文_ナンバー入り">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F4399D90-F9AD-0F8F-E50F-B4D1C90D120A}"/>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
        <p:nvSpPr>
          <p:cNvPr id="2" name="ナンバー">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82720145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本文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pic>
        <p:nvPicPr>
          <p:cNvPr id="5" name="BAM_LOGO" descr="アイコン&#10;&#10;自動的に生成された説明">
            <a:extLst>
              <a:ext uri="{FF2B5EF4-FFF2-40B4-BE49-F238E27FC236}">
                <a16:creationId xmlns:a16="http://schemas.microsoft.com/office/drawing/2014/main" id="{B512E199-7640-C4BF-75F5-CB2F5BEB6C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250693852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本文">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baseline="0">
                <a:solidFill>
                  <a:schemeClr val="tx1"/>
                </a:solidFill>
                <a:latin typeface="Segoe UI" panose="020B0502040204020203" pitchFamily="34" charset="0"/>
                <a:ea typeface="Meiryo UI" panose="020B0604030504040204" pitchFamily="34" charset="-128"/>
              </a:defRPr>
            </a:lvl1pPr>
            <a:lvl2pPr>
              <a:spcAft>
                <a:spcPts val="500"/>
              </a:spcAft>
              <a:defRPr sz="1600" b="0" i="0" baseline="0">
                <a:solidFill>
                  <a:schemeClr val="tx1"/>
                </a:solidFill>
                <a:latin typeface="Segoe UI" panose="020B0502040204020203" pitchFamily="34" charset="0"/>
                <a:ea typeface="Meiryo UI" panose="020B0604030504040204" pitchFamily="34" charset="-128"/>
              </a:defRPr>
            </a:lvl2pPr>
            <a:lvl3pPr>
              <a:spcAft>
                <a:spcPts val="500"/>
              </a:spcAft>
              <a:defRPr sz="1600" b="0" i="0" baseline="0">
                <a:solidFill>
                  <a:schemeClr val="tx1"/>
                </a:solidFill>
                <a:latin typeface="Segoe UI" panose="020B0502040204020203" pitchFamily="34" charset="0"/>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baseline="0">
                <a:latin typeface="Segoe UI" panose="020B0502040204020203" pitchFamily="34" charset="0"/>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414434988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本文_白紙_BAM">
    <p:spTree>
      <p:nvGrpSpPr>
        <p:cNvPr id="1" name=""/>
        <p:cNvGrpSpPr/>
        <p:nvPr/>
      </p:nvGrpSpPr>
      <p:grpSpPr>
        <a:xfrm>
          <a:off x="0" y="0"/>
          <a:ext cx="0" cy="0"/>
          <a:chOff x="0" y="0"/>
          <a:chExt cx="0" cy="0"/>
        </a:xfrm>
      </p:grpSpPr>
      <p:pic>
        <p:nvPicPr>
          <p:cNvPr id="2" name="BAM_LOGO" descr="アイコン&#10;&#10;自動的に生成された説明">
            <a:extLst>
              <a:ext uri="{FF2B5EF4-FFF2-40B4-BE49-F238E27FC236}">
                <a16:creationId xmlns:a16="http://schemas.microsoft.com/office/drawing/2014/main" id="{4FD953A0-0DA5-5E36-2B38-54A6A9AF5D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101753627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本文_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0695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92979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__6_タイトル1段">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87FEA95-4EAF-43B6-05E0-BE8F911A592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6</a:t>
            </a:r>
          </a:p>
        </p:txBody>
      </p:sp>
    </p:spTree>
    <p:extLst>
      <p:ext uri="{BB962C8B-B14F-4D97-AF65-F5344CB8AC3E}">
        <p14:creationId xmlns:p14="http://schemas.microsoft.com/office/powerpoint/2010/main" val="2754530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__6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6</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3" name="図 2">
            <a:extLst>
              <a:ext uri="{FF2B5EF4-FFF2-40B4-BE49-F238E27FC236}">
                <a16:creationId xmlns:a16="http://schemas.microsoft.com/office/drawing/2014/main" id="{AE44A65E-B451-9302-2C08-713FDB13CAF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23497317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前段-1">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697308"/>
            <a:ext cx="10235442" cy="323165"/>
          </a:xfrm>
        </p:spPr>
        <p:txBody>
          <a:bodyPr>
            <a:noAutofit/>
          </a:bodyPr>
          <a:lstStyle>
            <a:lvl1pPr>
              <a:defRPr sz="2100" b="1" i="0">
                <a:latin typeface="Yu Gothic" panose="020B0400000000000000" pitchFamily="34" charset="-128"/>
                <a:ea typeface="Yu Gothic" panose="020B0400000000000000" pitchFamily="34" charset="-128"/>
              </a:defRPr>
            </a:lvl1pPr>
          </a:lstStyle>
          <a:p>
            <a:r>
              <a:rPr kumimoji="1" lang="ja-JP" altLang="en-US"/>
              <a:t>マスター タイトルの書式設定</a:t>
            </a: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442009"/>
            <a:ext cx="10235442" cy="4508029"/>
          </a:xfrm>
        </p:spPr>
        <p:txBody>
          <a:bodyPr>
            <a:noAutofit/>
          </a:bodyPr>
          <a:lstStyle>
            <a:lvl1pPr>
              <a:defRPr sz="1600" b="0" i="0">
                <a:solidFill>
                  <a:schemeClr val="tx1"/>
                </a:solidFill>
                <a:latin typeface="Yu Gothic Medium" panose="020B0400000000000000" pitchFamily="34" charset="-128"/>
                <a:ea typeface="Yu Gothic Medium" panose="020B0400000000000000" pitchFamily="34" charset="-128"/>
              </a:defRPr>
            </a:lvl1pPr>
            <a:lvl2pPr>
              <a:defRPr sz="1600" b="0" i="0">
                <a:solidFill>
                  <a:schemeClr val="tx1"/>
                </a:solidFill>
                <a:latin typeface="Yu Gothic Medium" panose="020B0400000000000000" pitchFamily="34" charset="-128"/>
                <a:ea typeface="Yu Gothic Medium" panose="020B0400000000000000" pitchFamily="34" charset="-128"/>
              </a:defRPr>
            </a:lvl2pPr>
            <a:lvl3pPr>
              <a:defRPr sz="1600" b="0" i="0">
                <a:solidFill>
                  <a:schemeClr val="tx1"/>
                </a:solidFill>
                <a:latin typeface="Yu Gothic Medium" panose="020B0400000000000000" pitchFamily="34" charset="-128"/>
                <a:ea typeface="Yu Gothic Medium" panose="020B0400000000000000" pitchFamily="34" charset="-128"/>
              </a:defRPr>
            </a:lvl3pPr>
            <a:lvl4pPr>
              <a:defRPr sz="1600" b="0" i="0">
                <a:solidFill>
                  <a:schemeClr val="tx1"/>
                </a:solidFill>
                <a:latin typeface="Yu Gothic Medium" panose="020B0400000000000000" pitchFamily="34" charset="-128"/>
                <a:ea typeface="Yu Gothic Medium" panose="020B0400000000000000" pitchFamily="34" charset="-128"/>
              </a:defRPr>
            </a:lvl4pPr>
            <a:lvl5pPr>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26192593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__7_タイトル1段">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D2F53FDF-C6A9-1145-07F0-398D72D9406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nchor="ctr" anchorCtr="0"/>
          <a:lstStyle>
            <a:lvl1pPr>
              <a:defRPr sz="15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7</a:t>
            </a:r>
          </a:p>
        </p:txBody>
      </p:sp>
    </p:spTree>
    <p:extLst>
      <p:ext uri="{BB962C8B-B14F-4D97-AF65-F5344CB8AC3E}">
        <p14:creationId xmlns:p14="http://schemas.microsoft.com/office/powerpoint/2010/main" val="2311690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__7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85600"/>
            <a:ext cx="6640583" cy="230832"/>
          </a:xfrm>
        </p:spPr>
        <p:txBody>
          <a:bodyPr anchor="ctr" anchorCtr="0"/>
          <a:lstStyle>
            <a:lvl1pPr>
              <a:defRPr sz="15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7</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7" name="図 6">
            <a:extLst>
              <a:ext uri="{FF2B5EF4-FFF2-40B4-BE49-F238E27FC236}">
                <a16:creationId xmlns:a16="http://schemas.microsoft.com/office/drawing/2014/main" id="{D683A153-3CB4-15ED-8E24-1B06F2C7754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34558635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__8_タイトル1段">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3E496BF-E3DB-F981-D745-DEFB62B472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8</a:t>
            </a:r>
          </a:p>
        </p:txBody>
      </p:sp>
    </p:spTree>
    <p:extLst>
      <p:ext uri="{BB962C8B-B14F-4D97-AF65-F5344CB8AC3E}">
        <p14:creationId xmlns:p14="http://schemas.microsoft.com/office/powerpoint/2010/main" val="22069085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__8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8</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3" name="図 2">
            <a:extLst>
              <a:ext uri="{FF2B5EF4-FFF2-40B4-BE49-F238E27FC236}">
                <a16:creationId xmlns:a16="http://schemas.microsoft.com/office/drawing/2014/main" id="{FE6B26E1-FEAC-56F2-877B-AF01E4C75A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18853940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__9_タイトル1段">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0B469B31-D269-53DE-6086-EB586F0ACCF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9</a:t>
            </a:r>
          </a:p>
        </p:txBody>
      </p:sp>
    </p:spTree>
    <p:extLst>
      <p:ext uri="{BB962C8B-B14F-4D97-AF65-F5344CB8AC3E}">
        <p14:creationId xmlns:p14="http://schemas.microsoft.com/office/powerpoint/2010/main" val="16661743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__9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9</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5" name="図 4">
            <a:extLst>
              <a:ext uri="{FF2B5EF4-FFF2-40B4-BE49-F238E27FC236}">
                <a16:creationId xmlns:a16="http://schemas.microsoft.com/office/drawing/2014/main" id="{65293EAA-BEE1-8905-2FE3-3F093CE3E72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2570788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__10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0</a:t>
            </a:r>
          </a:p>
        </p:txBody>
      </p:sp>
      <p:pic>
        <p:nvPicPr>
          <p:cNvPr id="8" name="図 7">
            <a:extLst>
              <a:ext uri="{FF2B5EF4-FFF2-40B4-BE49-F238E27FC236}">
                <a16:creationId xmlns:a16="http://schemas.microsoft.com/office/drawing/2014/main" id="{75C612E1-741B-8980-7D7F-1B0F54B921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3147467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__10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0</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7" name="図 6">
            <a:extLst>
              <a:ext uri="{FF2B5EF4-FFF2-40B4-BE49-F238E27FC236}">
                <a16:creationId xmlns:a16="http://schemas.microsoft.com/office/drawing/2014/main" id="{E922B932-D198-0FD0-3171-A6E8C9ED0F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35151316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ナンバリング無し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0680"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Tree>
    <p:extLst>
      <p:ext uri="{BB962C8B-B14F-4D97-AF65-F5344CB8AC3E}">
        <p14:creationId xmlns:p14="http://schemas.microsoft.com/office/powerpoint/2010/main" val="6178623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ナンバリング無し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0680"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0680"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spTree>
    <p:extLst>
      <p:ext uri="{BB962C8B-B14F-4D97-AF65-F5344CB8AC3E}">
        <p14:creationId xmlns:p14="http://schemas.microsoft.com/office/powerpoint/2010/main" val="1638578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前段-2">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01C9E92F-C7EE-24BF-4AC3-1602029DEE70}"/>
              </a:ext>
            </a:extLst>
          </p:cNvPr>
          <p:cNvGrpSpPr/>
          <p:nvPr userDrawn="1"/>
        </p:nvGrpSpPr>
        <p:grpSpPr>
          <a:xfrm>
            <a:off x="0" y="0"/>
            <a:ext cx="12192000" cy="6858367"/>
            <a:chOff x="0" y="0"/>
            <a:chExt cx="12192000" cy="6858367"/>
          </a:xfrm>
        </p:grpSpPr>
        <p:pic>
          <p:nvPicPr>
            <p:cNvPr id="5" name="図 4" descr="水, ブルー, 飛行機, 飛ぶ が含まれている画像&#10;&#10;自動的に生成された説明">
              <a:extLst>
                <a:ext uri="{FF2B5EF4-FFF2-40B4-BE49-F238E27FC236}">
                  <a16:creationId xmlns:a16="http://schemas.microsoft.com/office/drawing/2014/main" id="{ABD5DBD4-EB2E-4EBD-C25D-4733E96425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図 5">
              <a:extLst>
                <a:ext uri="{FF2B5EF4-FFF2-40B4-BE49-F238E27FC236}">
                  <a16:creationId xmlns:a16="http://schemas.microsoft.com/office/drawing/2014/main" id="{554376EE-8721-8C23-B61D-19DF6F4C209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4" name="正方形/長方形 3">
            <a:extLst>
              <a:ext uri="{FF2B5EF4-FFF2-40B4-BE49-F238E27FC236}">
                <a16:creationId xmlns:a16="http://schemas.microsoft.com/office/drawing/2014/main" id="{B4BF02B5-150F-CB48-283C-64D89B079FE9}"/>
              </a:ext>
            </a:extLst>
          </p:cNvPr>
          <p:cNvSpPr/>
          <p:nvPr userDrawn="1"/>
        </p:nvSpPr>
        <p:spPr>
          <a:xfrm>
            <a:off x="1143000" y="533400"/>
            <a:ext cx="5334000" cy="5334000"/>
          </a:xfrm>
          <a:prstGeom prst="rect">
            <a:avLst/>
          </a:prstGeom>
          <a:solidFill>
            <a:schemeClr val="bg1">
              <a:alpha val="6962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1634539" y="1386568"/>
            <a:ext cx="4349115" cy="323165"/>
          </a:xfrm>
        </p:spPr>
        <p:txBody>
          <a:bodyPr/>
          <a:lstStyle>
            <a:lvl1pPr>
              <a:defRPr sz="2050" b="1" i="0">
                <a:latin typeface="Yu Gothic" panose="020B0400000000000000" pitchFamily="34" charset="-128"/>
                <a:ea typeface="Yu Gothic" panose="020B0400000000000000" pitchFamily="34" charset="-128"/>
              </a:defRPr>
            </a:lvl1pPr>
          </a:lstStyle>
          <a:p>
            <a:r>
              <a:rPr kumimoji="1" lang="ja-JP" altLang="en-US"/>
              <a:t>マスター タイトルの書式設定</a:t>
            </a: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1634539" y="2194957"/>
            <a:ext cx="4598836" cy="2931433"/>
          </a:xfrm>
        </p:spPr>
        <p:txBody>
          <a:bodyPr>
            <a:noAutofit/>
          </a:bodyPr>
          <a:lstStyle>
            <a:lvl1pPr>
              <a:spcAft>
                <a:spcPts val="1200"/>
              </a:spcAft>
              <a:defRPr sz="1400" b="0" i="0" spc="0">
                <a:solidFill>
                  <a:schemeClr val="tx2"/>
                </a:solidFill>
                <a:latin typeface="Yu Gothic Medium" panose="020B0400000000000000" pitchFamily="34" charset="-128"/>
                <a:ea typeface="Yu Gothic Medium" panose="020B0400000000000000" pitchFamily="34" charset="-128"/>
              </a:defRPr>
            </a:lvl1pPr>
            <a:lvl2pPr>
              <a:spcAft>
                <a:spcPts val="1200"/>
              </a:spcAft>
              <a:defRPr sz="1400" b="0" i="0" spc="0">
                <a:solidFill>
                  <a:schemeClr val="tx2"/>
                </a:solidFill>
                <a:latin typeface="Yu Gothic Medium" panose="020B0400000000000000" pitchFamily="34" charset="-128"/>
                <a:ea typeface="Yu Gothic Medium" panose="020B0400000000000000" pitchFamily="34" charset="-128"/>
              </a:defRPr>
            </a:lvl2pPr>
            <a:lvl3pPr>
              <a:spcAft>
                <a:spcPts val="1200"/>
              </a:spcAft>
              <a:defRPr sz="1400" b="0" i="0" spc="0">
                <a:solidFill>
                  <a:schemeClr val="tx2"/>
                </a:solidFill>
                <a:latin typeface="Yu Gothic Medium" panose="020B0400000000000000" pitchFamily="34" charset="-128"/>
                <a:ea typeface="Yu Gothic Medium" panose="020B0400000000000000" pitchFamily="34" charset="-128"/>
              </a:defRPr>
            </a:lvl3pPr>
            <a:lvl4pPr>
              <a:spcAft>
                <a:spcPts val="1200"/>
              </a:spcAft>
              <a:defRPr sz="1400" b="0" i="0" spc="0">
                <a:solidFill>
                  <a:schemeClr val="tx2"/>
                </a:solidFill>
                <a:latin typeface="Yu Gothic Medium" panose="020B0400000000000000" pitchFamily="34" charset="-128"/>
                <a:ea typeface="Yu Gothic Medium" panose="020B0400000000000000" pitchFamily="34" charset="-128"/>
              </a:defRPr>
            </a:lvl4pPr>
            <a:lvl5pPr>
              <a:spcAft>
                <a:spcPts val="1200"/>
              </a:spcAft>
              <a:defRPr sz="1400" b="0" i="0" spc="0">
                <a:solidFill>
                  <a:schemeClr val="tx2"/>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pic>
        <p:nvPicPr>
          <p:cNvPr id="8" name="図 7">
            <a:extLst>
              <a:ext uri="{FF2B5EF4-FFF2-40B4-BE49-F238E27FC236}">
                <a16:creationId xmlns:a16="http://schemas.microsoft.com/office/drawing/2014/main" id="{BE32EB54-4AAA-C467-278B-54D27CD959E6}"/>
              </a:ext>
            </a:extLst>
          </p:cNvPr>
          <p:cNvPicPr>
            <a:picLocks noChangeAspect="1"/>
          </p:cNvPicPr>
          <p:nvPr userDrawn="1"/>
        </p:nvPicPr>
        <p:blipFill>
          <a:blip r:embed="rId4"/>
          <a:stretch>
            <a:fillRect/>
          </a:stretch>
        </p:blipFill>
        <p:spPr>
          <a:xfrm>
            <a:off x="1634539" y="976728"/>
            <a:ext cx="3585697" cy="260372"/>
          </a:xfrm>
          <a:prstGeom prst="rect">
            <a:avLst/>
          </a:prstGeom>
        </p:spPr>
      </p:pic>
      <p:sp>
        <p:nvSpPr>
          <p:cNvPr id="9" name="テキスト プレースホルダー 23">
            <a:extLst>
              <a:ext uri="{FF2B5EF4-FFF2-40B4-BE49-F238E27FC236}">
                <a16:creationId xmlns:a16="http://schemas.microsoft.com/office/drawing/2014/main" id="{14935653-0758-E77A-1255-20554304B19A}"/>
              </a:ext>
            </a:extLst>
          </p:cNvPr>
          <p:cNvSpPr>
            <a:spLocks noGrp="1"/>
          </p:cNvSpPr>
          <p:nvPr>
            <p:ph type="body" sz="quarter" idx="13"/>
          </p:nvPr>
        </p:nvSpPr>
        <p:spPr>
          <a:xfrm>
            <a:off x="1634539" y="5149805"/>
            <a:ext cx="4349115" cy="321627"/>
          </a:xfrm>
        </p:spPr>
        <p:txBody>
          <a:bodyPr anchor="b" anchorCtr="0">
            <a:spAutoFit/>
          </a:bodyPr>
          <a:lstStyle>
            <a:lvl1pPr>
              <a:spcAft>
                <a:spcPts val="300"/>
              </a:spcAft>
              <a:defRPr sz="800" b="0" i="0">
                <a:solidFill>
                  <a:schemeClr val="tx2"/>
                </a:solidFill>
                <a:latin typeface="Yu Gothic Medium" panose="020B0400000000000000" pitchFamily="34" charset="-128"/>
                <a:ea typeface="Yu Gothic Medium" panose="020B0400000000000000" pitchFamily="34" charset="-128"/>
              </a:defRPr>
            </a:lvl1pPr>
            <a:lvl2pPr>
              <a:spcAft>
                <a:spcPts val="300"/>
              </a:spcAft>
              <a:defRPr sz="800" b="0" i="0">
                <a:solidFill>
                  <a:schemeClr val="tx2"/>
                </a:solidFill>
                <a:latin typeface="Yu Gothic Medium" panose="020B0400000000000000" pitchFamily="34" charset="-128"/>
                <a:ea typeface="Yu Gothic Medium" panose="020B0400000000000000" pitchFamily="34" charset="-128"/>
              </a:defRPr>
            </a:lvl2pPr>
            <a:lvl3pPr>
              <a:spcAft>
                <a:spcPts val="300"/>
              </a:spcAft>
              <a:defRPr sz="800" b="0" i="0">
                <a:solidFill>
                  <a:schemeClr val="tx2"/>
                </a:solidFill>
                <a:latin typeface="Yu Gothic Medium" panose="020B0400000000000000" pitchFamily="34" charset="-128"/>
                <a:ea typeface="Yu Gothic Medium" panose="020B0400000000000000" pitchFamily="34" charset="-128"/>
              </a:defRPr>
            </a:lvl3pPr>
            <a:lvl4pPr>
              <a:spcAft>
                <a:spcPts val="300"/>
              </a:spcAft>
              <a:defRPr sz="800" b="0" i="0">
                <a:solidFill>
                  <a:schemeClr val="tx2"/>
                </a:solidFill>
                <a:latin typeface="Yu Gothic Medium" panose="020B0400000000000000" pitchFamily="34" charset="-128"/>
                <a:ea typeface="Yu Gothic Medium" panose="020B0400000000000000" pitchFamily="34" charset="-128"/>
              </a:defRPr>
            </a:lvl4pPr>
            <a:lvl5pPr>
              <a:spcAft>
                <a:spcPts val="300"/>
              </a:spcAft>
              <a:defRPr sz="800" b="0" i="0">
                <a:solidFill>
                  <a:schemeClr val="tx2"/>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4471037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表紙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BAECB58-339C-F86C-5CB0-DEEDF8DFAD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ja-JP" altLang="en-US"/>
              <a:t>（役職）指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a:solidFill>
                  <a:schemeClr val="bg1"/>
                </a:solidFill>
                <a:latin typeface="Meiryo UI" panose="020B0604030504040204" pitchFamily="34" charset="-128"/>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4" name="LOGO" descr="テキスト&#10;&#10;自動的に生成された説明">
            <a:extLst>
              <a:ext uri="{FF2B5EF4-FFF2-40B4-BE49-F238E27FC236}">
                <a16:creationId xmlns:a16="http://schemas.microsoft.com/office/drawing/2014/main" id="{5B1F2DFA-201B-AC5B-7854-C7896AFF1A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78556" y="4501149"/>
            <a:ext cx="777105" cy="509781"/>
          </a:xfrm>
          <a:prstGeom prst="rect">
            <a:avLst/>
          </a:prstGeom>
        </p:spPr>
      </p:pic>
      <p:sp>
        <p:nvSpPr>
          <p:cNvPr id="5" name="object 13">
            <a:extLst>
              <a:ext uri="{FF2B5EF4-FFF2-40B4-BE49-F238E27FC236}">
                <a16:creationId xmlns:a16="http://schemas.microsoft.com/office/drawing/2014/main" id="{417D132C-783A-C000-F77C-7588E3BF021B}"/>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D49FA8D5-B242-1EED-B7B4-99663359D875}"/>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pic>
        <p:nvPicPr>
          <p:cNvPr id="8" name="図 7" descr="ロゴ, 会社名&#10;&#10;自動的に生成された説明">
            <a:extLst>
              <a:ext uri="{FF2B5EF4-FFF2-40B4-BE49-F238E27FC236}">
                <a16:creationId xmlns:a16="http://schemas.microsoft.com/office/drawing/2014/main" id="{5D5A0F55-EFD0-C2FC-5371-8189BC92907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22361" y="4501942"/>
            <a:ext cx="1706241" cy="549493"/>
          </a:xfrm>
          <a:prstGeom prst="rect">
            <a:avLst/>
          </a:prstGeom>
        </p:spPr>
      </p:pic>
    </p:spTree>
    <p:extLst>
      <p:ext uri="{BB962C8B-B14F-4D97-AF65-F5344CB8AC3E}">
        <p14:creationId xmlns:p14="http://schemas.microsoft.com/office/powerpoint/2010/main" val="34379213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39808769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本文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41461183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目次_B">
    <p:spTree>
      <p:nvGrpSpPr>
        <p:cNvPr id="1" name=""/>
        <p:cNvGrpSpPr/>
        <p:nvPr/>
      </p:nvGrpSpPr>
      <p:grpSpPr>
        <a:xfrm>
          <a:off x="0" y="0"/>
          <a:ext cx="0" cy="0"/>
          <a:chOff x="0" y="0"/>
          <a:chExt cx="0" cy="0"/>
        </a:xfrm>
      </p:grpSpPr>
      <p:grpSp>
        <p:nvGrpSpPr>
          <p:cNvPr id="3" name="object 2">
            <a:extLst>
              <a:ext uri="{FF2B5EF4-FFF2-40B4-BE49-F238E27FC236}">
                <a16:creationId xmlns:a16="http://schemas.microsoft.com/office/drawing/2014/main" id="{930D0121-30C1-6AA2-37A5-33F546D8DA9B}"/>
              </a:ext>
            </a:extLst>
          </p:cNvPr>
          <p:cNvGrpSpPr/>
          <p:nvPr userDrawn="1"/>
        </p:nvGrpSpPr>
        <p:grpSpPr>
          <a:xfrm>
            <a:off x="0" y="945387"/>
            <a:ext cx="4597400" cy="4495800"/>
            <a:chOff x="0" y="945387"/>
            <a:chExt cx="4597400" cy="4495800"/>
          </a:xfrm>
        </p:grpSpPr>
        <p:pic>
          <p:nvPicPr>
            <p:cNvPr id="4" name="object 3">
              <a:extLst>
                <a:ext uri="{FF2B5EF4-FFF2-40B4-BE49-F238E27FC236}">
                  <a16:creationId xmlns:a16="http://schemas.microsoft.com/office/drawing/2014/main" id="{4D5AC5A5-CDAC-4467-217B-E0D9749EBD6F}"/>
                </a:ext>
              </a:extLst>
            </p:cNvPr>
            <p:cNvPicPr/>
            <p:nvPr/>
          </p:nvPicPr>
          <p:blipFill>
            <a:blip r:embed="rId2" cstate="print"/>
            <a:stretch>
              <a:fillRect/>
            </a:stretch>
          </p:blipFill>
          <p:spPr>
            <a:xfrm>
              <a:off x="813371" y="945387"/>
              <a:ext cx="3783533" cy="4495228"/>
            </a:xfrm>
            <a:prstGeom prst="rect">
              <a:avLst/>
            </a:prstGeom>
          </p:spPr>
        </p:pic>
        <p:sp>
          <p:nvSpPr>
            <p:cNvPr id="5" name="object 4">
              <a:extLst>
                <a:ext uri="{FF2B5EF4-FFF2-40B4-BE49-F238E27FC236}">
                  <a16:creationId xmlns:a16="http://schemas.microsoft.com/office/drawing/2014/main" id="{D5E15685-ACF9-62A7-FC8B-96457352763B}"/>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lvl1pPr>
              <a:defRPr b="0" i="0">
                <a:latin typeface="Segoe UI" panose="020B0502040204020203" pitchFamily="34" charset="0"/>
                <a:cs typeface="Segoe UI" panose="020B0502040204020203" pitchFamily="34" charset="0"/>
              </a:defRPr>
            </a:lvl1pPr>
          </a:lstStyle>
          <a:p>
            <a:r>
              <a:rPr kumimoji="1" lang="en-US" altLang="ja-JP"/>
              <a:t>‹#›</a:t>
            </a:r>
          </a:p>
        </p:txBody>
      </p:sp>
      <p:sp>
        <p:nvSpPr>
          <p:cNvPr id="24" name="本文">
            <a:extLst>
              <a:ext uri="{FF2B5EF4-FFF2-40B4-BE49-F238E27FC236}">
                <a16:creationId xmlns:a16="http://schemas.microsoft.com/office/drawing/2014/main" id="{503D5E8C-36F3-01CB-E79F-A7E44E02BED0}"/>
              </a:ext>
            </a:extLst>
          </p:cNvPr>
          <p:cNvSpPr>
            <a:spLocks noGrp="1"/>
          </p:cNvSpPr>
          <p:nvPr>
            <p:ph type="body" sz="quarter" idx="11"/>
          </p:nvPr>
        </p:nvSpPr>
        <p:spPr>
          <a:xfrm>
            <a:off x="4920018" y="945389"/>
            <a:ext cx="6293324" cy="4495800"/>
          </a:xfrm>
        </p:spPr>
        <p:txBody>
          <a:bodyPr>
            <a:noAutofit/>
          </a:bodyPr>
          <a:lstStyle>
            <a:lvl1pPr marL="3573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1pPr>
            <a:lvl2pPr marL="8001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2pPr>
            <a:lvl3pPr marL="12573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3pPr>
            <a:lvl4pPr marL="17145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4pPr>
            <a:lvl5pPr marL="2171700" indent="-342900">
              <a:spcAft>
                <a:spcPts val="1000"/>
              </a:spcAft>
              <a:buFont typeface="+mj-lt"/>
              <a:buAutoNum type="arabicPeriod"/>
              <a:defRPr sz="1600" b="0" i="0">
                <a:solidFill>
                  <a:schemeClr val="tx1"/>
                </a:solidFill>
                <a:latin typeface="Meiryo UI" panose="020B0604030504040204" pitchFamily="34" charset="-128"/>
                <a:ea typeface="Meiryo UI" panose="020B0604030504040204"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3" name="タイトル">
            <a:extLst>
              <a:ext uri="{FF2B5EF4-FFF2-40B4-BE49-F238E27FC236}">
                <a16:creationId xmlns:a16="http://schemas.microsoft.com/office/drawing/2014/main" id="{09A89F03-5E81-1E7A-45AC-470E217FDEAF}"/>
              </a:ext>
            </a:extLst>
          </p:cNvPr>
          <p:cNvSpPr>
            <a:spLocks noGrp="1"/>
          </p:cNvSpPr>
          <p:nvPr>
            <p:ph type="title"/>
          </p:nvPr>
        </p:nvSpPr>
        <p:spPr>
          <a:xfrm>
            <a:off x="1208101" y="945388"/>
            <a:ext cx="2994506" cy="4495800"/>
          </a:xfrm>
        </p:spPr>
        <p:txBody>
          <a:bodyPr anchor="ctr" anchorCtr="1">
            <a:noAutofit/>
          </a:bodyPr>
          <a:lstStyle>
            <a:lvl1pPr algn="ctr">
              <a:defRPr sz="2400" b="1" i="0" spc="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3545730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42F03C37-E594-2072-BB08-75AE816BE58F}"/>
              </a:ext>
            </a:extLst>
          </p:cNvPr>
          <p:cNvGrpSpPr/>
          <p:nvPr userDrawn="1"/>
        </p:nvGrpSpPr>
        <p:grpSpPr>
          <a:xfrm>
            <a:off x="0" y="0"/>
            <a:ext cx="12192000" cy="6858000"/>
            <a:chOff x="0" y="0"/>
            <a:chExt cx="12192000" cy="6858000"/>
          </a:xfrm>
        </p:grpSpPr>
        <p:pic>
          <p:nvPicPr>
            <p:cNvPr id="4" name="図 3" descr="海に浮かぶ島&#10;&#10;中程度の精度で自動的に生成された説明">
              <a:extLst>
                <a:ext uri="{FF2B5EF4-FFF2-40B4-BE49-F238E27FC236}">
                  <a16:creationId xmlns:a16="http://schemas.microsoft.com/office/drawing/2014/main" id="{613256B4-D745-EAD2-35E4-B47B52055E0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図 5">
              <a:extLst>
                <a:ext uri="{FF2B5EF4-FFF2-40B4-BE49-F238E27FC236}">
                  <a16:creationId xmlns:a16="http://schemas.microsoft.com/office/drawing/2014/main" id="{FCAC8293-8397-F7D0-D098-A593C22CF3C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grpSp>
      <p:sp>
        <p:nvSpPr>
          <p:cNvPr id="5" name="タイトル 4">
            <a:extLst>
              <a:ext uri="{FF2B5EF4-FFF2-40B4-BE49-F238E27FC236}">
                <a16:creationId xmlns:a16="http://schemas.microsoft.com/office/drawing/2014/main" id="{875626D7-4887-F1FA-338B-F47563AFAB6E}"/>
              </a:ext>
            </a:extLst>
          </p:cNvPr>
          <p:cNvSpPr>
            <a:spLocks noGrp="1"/>
          </p:cNvSpPr>
          <p:nvPr>
            <p:ph type="title" hasCustomPrompt="1"/>
          </p:nvPr>
        </p:nvSpPr>
        <p:spPr>
          <a:xfrm>
            <a:off x="1684564" y="2301961"/>
            <a:ext cx="3286760" cy="723275"/>
          </a:xfrm>
        </p:spPr>
        <p:txBody>
          <a:bodyPr>
            <a:noAutofit/>
          </a:bodyPr>
          <a:lstStyle>
            <a:lvl1pPr algn="ctr">
              <a:defRPr sz="2200" b="1" i="0">
                <a:solidFill>
                  <a:schemeClr val="bg1"/>
                </a:solidFill>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itle text</a:t>
            </a:r>
            <a:br>
              <a:rPr kumimoji="1" lang="en-US" altLang="ja-JP"/>
            </a:br>
            <a:r>
              <a:rPr kumimoji="1" lang="en-US" altLang="ja-JP"/>
              <a:t>Title text</a:t>
            </a:r>
            <a:r>
              <a:rPr kumimoji="1" lang="ja-JP" altLang="en-US"/>
              <a:t> </a:t>
            </a:r>
          </a:p>
        </p:txBody>
      </p:sp>
      <p:sp>
        <p:nvSpPr>
          <p:cNvPr id="11" name="object 12">
            <a:extLst>
              <a:ext uri="{FF2B5EF4-FFF2-40B4-BE49-F238E27FC236}">
                <a16:creationId xmlns:a16="http://schemas.microsoft.com/office/drawing/2014/main" id="{D0BA5559-566D-3309-2299-EA3C4CF672C7}"/>
              </a:ext>
            </a:extLst>
          </p:cNvPr>
          <p:cNvSpPr/>
          <p:nvPr userDrawn="1"/>
        </p:nvSpPr>
        <p:spPr>
          <a:xfrm>
            <a:off x="1684564" y="2057400"/>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12" name="object 13">
            <a:extLst>
              <a:ext uri="{FF2B5EF4-FFF2-40B4-BE49-F238E27FC236}">
                <a16:creationId xmlns:a16="http://schemas.microsoft.com/office/drawing/2014/main" id="{68B39601-C85A-73AD-177B-BF7080EA205B}"/>
              </a:ext>
            </a:extLst>
          </p:cNvPr>
          <p:cNvSpPr/>
          <p:nvPr userDrawn="1"/>
        </p:nvSpPr>
        <p:spPr>
          <a:xfrm>
            <a:off x="1684564" y="3661638"/>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pic>
        <p:nvPicPr>
          <p:cNvPr id="14" name="図 13">
            <a:extLst>
              <a:ext uri="{FF2B5EF4-FFF2-40B4-BE49-F238E27FC236}">
                <a16:creationId xmlns:a16="http://schemas.microsoft.com/office/drawing/2014/main" id="{CA1CD6DC-3462-9768-B509-70F9A2FEDDB7}"/>
              </a:ext>
            </a:extLst>
          </p:cNvPr>
          <p:cNvPicPr>
            <a:picLocks noChangeAspect="1"/>
          </p:cNvPicPr>
          <p:nvPr userDrawn="1"/>
        </p:nvPicPr>
        <p:blipFill>
          <a:blip r:embed="rId4"/>
          <a:stretch>
            <a:fillRect/>
          </a:stretch>
        </p:blipFill>
        <p:spPr>
          <a:xfrm>
            <a:off x="1684564" y="3163539"/>
            <a:ext cx="3286760" cy="238665"/>
          </a:xfrm>
          <a:prstGeom prst="rect">
            <a:avLst/>
          </a:prstGeom>
        </p:spPr>
      </p:pic>
      <p:sp>
        <p:nvSpPr>
          <p:cNvPr id="18" name="テキスト プレースホルダー 17">
            <a:extLst>
              <a:ext uri="{FF2B5EF4-FFF2-40B4-BE49-F238E27FC236}">
                <a16:creationId xmlns:a16="http://schemas.microsoft.com/office/drawing/2014/main" id="{76F91E0A-8FFF-3ECD-AB2D-D1E8D31EF34F}"/>
              </a:ext>
            </a:extLst>
          </p:cNvPr>
          <p:cNvSpPr>
            <a:spLocks noGrp="1"/>
          </p:cNvSpPr>
          <p:nvPr>
            <p:ph type="body" sz="quarter" idx="10" hasCustomPrompt="1"/>
          </p:nvPr>
        </p:nvSpPr>
        <p:spPr>
          <a:xfrm>
            <a:off x="1684565" y="1312511"/>
            <a:ext cx="3286759" cy="581698"/>
          </a:xfrm>
        </p:spPr>
        <p:txBody>
          <a:bodyPr anchor="b" anchorCtr="0">
            <a:noAutofit/>
          </a:bodyPr>
          <a:lstStyle>
            <a:lvl1pPr algn="ctr">
              <a:lnSpc>
                <a:spcPct val="120000"/>
              </a:lnSpc>
              <a:spcBef>
                <a:spcPts val="0"/>
              </a:spcBef>
              <a:defRPr sz="1500" b="0" i="0">
                <a:solidFill>
                  <a:schemeClr val="bg1"/>
                </a:solidFill>
                <a:latin typeface="Segoe UI" panose="020B0502040204020203" pitchFamily="34" charset="0"/>
                <a:cs typeface="Segoe UI" panose="020B0502040204020203" pitchFamily="34" charset="0"/>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marL="14400" marR="0" lvl="0" indent="0" algn="ctr" defTabSz="914400" eaLnBrk="1" fontAlgn="auto" latinLnBrk="0" hangingPunct="1">
              <a:lnSpc>
                <a:spcPct val="130000"/>
              </a:lnSpc>
              <a:spcBef>
                <a:spcPts val="100"/>
              </a:spcBef>
              <a:spcAft>
                <a:spcPts val="0"/>
              </a:spcAft>
              <a:buClrTx/>
              <a:buSzTx/>
              <a:buFontTx/>
              <a:buNone/>
              <a:tabLst/>
              <a:defRPr/>
            </a:pPr>
            <a:r>
              <a:rPr kumimoji="1" lang="en-US" altLang="ja-JP"/>
              <a:t>Sample text Sample text </a:t>
            </a:r>
            <a:br>
              <a:rPr kumimoji="1" lang="en-US" altLang="ja-JP"/>
            </a:br>
            <a:r>
              <a:rPr kumimoji="1" lang="en-US" altLang="ja-JP"/>
              <a:t>Sample text Sample text</a:t>
            </a:r>
            <a:endParaRPr kumimoji="1" lang="ja-JP" altLang="en-US"/>
          </a:p>
        </p:txBody>
      </p:sp>
      <p:sp>
        <p:nvSpPr>
          <p:cNvPr id="19" name="テキスト プレースホルダー 17">
            <a:extLst>
              <a:ext uri="{FF2B5EF4-FFF2-40B4-BE49-F238E27FC236}">
                <a16:creationId xmlns:a16="http://schemas.microsoft.com/office/drawing/2014/main" id="{355C1305-3A23-723A-2399-4989DA748861}"/>
              </a:ext>
            </a:extLst>
          </p:cNvPr>
          <p:cNvSpPr>
            <a:spLocks noGrp="1"/>
          </p:cNvSpPr>
          <p:nvPr>
            <p:ph type="body" sz="quarter" idx="11" hasCustomPrompt="1"/>
          </p:nvPr>
        </p:nvSpPr>
        <p:spPr>
          <a:xfrm>
            <a:off x="1684564" y="3874817"/>
            <a:ext cx="3286760" cy="147284"/>
          </a:xfrm>
        </p:spPr>
        <p:txBody>
          <a:bodyPr/>
          <a:lstStyle>
            <a:lvl1pPr algn="ctr">
              <a:defRPr sz="800" b="0" i="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pic>
        <p:nvPicPr>
          <p:cNvPr id="9" name="図 8" descr="ロゴ&#10;&#10;自動的に生成された説明">
            <a:extLst>
              <a:ext uri="{FF2B5EF4-FFF2-40B4-BE49-F238E27FC236}">
                <a16:creationId xmlns:a16="http://schemas.microsoft.com/office/drawing/2014/main" id="{5224B94E-E6F5-748D-CCAB-E4BFCF4C7D51}"/>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939114" y="4540937"/>
            <a:ext cx="777105" cy="400209"/>
          </a:xfrm>
          <a:prstGeom prst="rect">
            <a:avLst/>
          </a:prstGeom>
        </p:spPr>
      </p:pic>
    </p:spTree>
    <p:extLst>
      <p:ext uri="{BB962C8B-B14F-4D97-AF65-F5344CB8AC3E}">
        <p14:creationId xmlns:p14="http://schemas.microsoft.com/office/powerpoint/2010/main" val="401023544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前段-1">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hasCustomPrompt="1"/>
          </p:nvPr>
        </p:nvSpPr>
        <p:spPr>
          <a:xfrm>
            <a:off x="978658" y="697308"/>
            <a:ext cx="10235442" cy="323165"/>
          </a:xfrm>
        </p:spPr>
        <p:txBody>
          <a:bodyPr/>
          <a:lstStyle>
            <a:lvl1pPr>
              <a:defRPr sz="2100" b="1" i="0">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ext title</a:t>
            </a: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hasCustomPrompt="1"/>
          </p:nvPr>
        </p:nvSpPr>
        <p:spPr>
          <a:xfrm>
            <a:off x="977900" y="1442008"/>
            <a:ext cx="10235442" cy="4508030"/>
          </a:xfrm>
        </p:spPr>
        <p:txBody>
          <a:bodyPr>
            <a:noAutofit/>
          </a:bodyPr>
          <a:lstStyle>
            <a:lvl1pPr>
              <a:lnSpc>
                <a:spcPct val="110000"/>
              </a:lnSpc>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defRPr sz="1600" b="0" i="0">
                <a:solidFill>
                  <a:schemeClr val="tx1"/>
                </a:solidFill>
                <a:latin typeface="Yu Gothic Medium" panose="020B0400000000000000" pitchFamily="34" charset="-128"/>
                <a:ea typeface="Yu Gothic Medium" panose="020B0400000000000000" pitchFamily="34" charset="-128"/>
              </a:defRPr>
            </a:lvl2pPr>
            <a:lvl3pPr>
              <a:defRPr sz="1600" b="0" i="0">
                <a:solidFill>
                  <a:schemeClr val="tx1"/>
                </a:solidFill>
                <a:latin typeface="Yu Gothic Medium" panose="020B0400000000000000" pitchFamily="34" charset="-128"/>
                <a:ea typeface="Yu Gothic Medium" panose="020B0400000000000000" pitchFamily="34" charset="-128"/>
              </a:defRPr>
            </a:lvl3pPr>
            <a:lvl4pPr>
              <a:defRPr sz="1600" b="0" i="0">
                <a:solidFill>
                  <a:schemeClr val="tx1"/>
                </a:solidFill>
                <a:latin typeface="Yu Gothic Medium" panose="020B0400000000000000" pitchFamily="34" charset="-128"/>
                <a:ea typeface="Yu Gothic Medium" panose="020B0400000000000000" pitchFamily="34" charset="-128"/>
              </a:defRPr>
            </a:lvl4pPr>
            <a:lvl5pPr>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42407169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前段-2">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03C0BE07-4F3A-3F16-C13C-4BA69427B52F}"/>
              </a:ext>
            </a:extLst>
          </p:cNvPr>
          <p:cNvGrpSpPr/>
          <p:nvPr userDrawn="1"/>
        </p:nvGrpSpPr>
        <p:grpSpPr>
          <a:xfrm>
            <a:off x="0" y="0"/>
            <a:ext cx="12192000" cy="6858000"/>
            <a:chOff x="0" y="0"/>
            <a:chExt cx="12192000" cy="6858000"/>
          </a:xfrm>
        </p:grpSpPr>
        <p:pic>
          <p:nvPicPr>
            <p:cNvPr id="5" name="図 4" descr="水, ブルー, 飛行機, 飛ぶ が含まれている画像&#10;&#10;自動的に生成された説明">
              <a:extLst>
                <a:ext uri="{FF2B5EF4-FFF2-40B4-BE49-F238E27FC236}">
                  <a16:creationId xmlns:a16="http://schemas.microsoft.com/office/drawing/2014/main" id="{0675D2E2-2408-5FEA-D810-386BF801650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6" name="図 5">
              <a:extLst>
                <a:ext uri="{FF2B5EF4-FFF2-40B4-BE49-F238E27FC236}">
                  <a16:creationId xmlns:a16="http://schemas.microsoft.com/office/drawing/2014/main" id="{F449A7EE-E227-D72F-83FD-76DA64D1C78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grpSp>
      <p:sp>
        <p:nvSpPr>
          <p:cNvPr id="4" name="正方形/長方形 3">
            <a:extLst>
              <a:ext uri="{FF2B5EF4-FFF2-40B4-BE49-F238E27FC236}">
                <a16:creationId xmlns:a16="http://schemas.microsoft.com/office/drawing/2014/main" id="{B4BF02B5-150F-CB48-283C-64D89B079FE9}"/>
              </a:ext>
            </a:extLst>
          </p:cNvPr>
          <p:cNvSpPr/>
          <p:nvPr userDrawn="1"/>
        </p:nvSpPr>
        <p:spPr>
          <a:xfrm>
            <a:off x="1143000" y="533400"/>
            <a:ext cx="5334000" cy="5334000"/>
          </a:xfrm>
          <a:prstGeom prst="rect">
            <a:avLst/>
          </a:prstGeom>
          <a:solidFill>
            <a:schemeClr val="bg1">
              <a:alpha val="6962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タイトル 12">
            <a:extLst>
              <a:ext uri="{FF2B5EF4-FFF2-40B4-BE49-F238E27FC236}">
                <a16:creationId xmlns:a16="http://schemas.microsoft.com/office/drawing/2014/main" id="{09A89F03-5E81-1E7A-45AC-470E217FDEAF}"/>
              </a:ext>
            </a:extLst>
          </p:cNvPr>
          <p:cNvSpPr>
            <a:spLocks noGrp="1"/>
          </p:cNvSpPr>
          <p:nvPr>
            <p:ph type="title" hasCustomPrompt="1"/>
          </p:nvPr>
        </p:nvSpPr>
        <p:spPr>
          <a:xfrm>
            <a:off x="1634539" y="1386568"/>
            <a:ext cx="4349115" cy="315471"/>
          </a:xfrm>
        </p:spPr>
        <p:txBody>
          <a:bodyPr/>
          <a:lstStyle>
            <a:lvl1pPr>
              <a:defRPr sz="2050" b="1" i="0">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ext title</a:t>
            </a: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hasCustomPrompt="1"/>
          </p:nvPr>
        </p:nvSpPr>
        <p:spPr>
          <a:xfrm>
            <a:off x="1634539" y="2194957"/>
            <a:ext cx="4598836" cy="2931433"/>
          </a:xfrm>
        </p:spPr>
        <p:txBody>
          <a:bodyPr>
            <a:noAutofit/>
          </a:bodyPr>
          <a:lstStyle>
            <a:lvl1pPr>
              <a:spcAft>
                <a:spcPts val="1200"/>
              </a:spcAft>
              <a:defRPr sz="1400" b="0" i="0" spc="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1200"/>
              </a:spcAft>
              <a:defRPr sz="1400" b="0" i="0" spc="0">
                <a:solidFill>
                  <a:schemeClr val="tx2"/>
                </a:solidFill>
                <a:latin typeface="Yu Gothic Medium" panose="020B0400000000000000" pitchFamily="34" charset="-128"/>
                <a:ea typeface="Yu Gothic Medium" panose="020B0400000000000000" pitchFamily="34" charset="-128"/>
              </a:defRPr>
            </a:lvl2pPr>
            <a:lvl3pPr>
              <a:spcAft>
                <a:spcPts val="1200"/>
              </a:spcAft>
              <a:defRPr sz="1400" b="0" i="0" spc="0">
                <a:solidFill>
                  <a:schemeClr val="tx2"/>
                </a:solidFill>
                <a:latin typeface="Yu Gothic Medium" panose="020B0400000000000000" pitchFamily="34" charset="-128"/>
                <a:ea typeface="Yu Gothic Medium" panose="020B0400000000000000" pitchFamily="34" charset="-128"/>
              </a:defRPr>
            </a:lvl3pPr>
            <a:lvl4pPr>
              <a:spcAft>
                <a:spcPts val="1200"/>
              </a:spcAft>
              <a:defRPr sz="1400" b="0" i="0" spc="0">
                <a:solidFill>
                  <a:schemeClr val="tx2"/>
                </a:solidFill>
                <a:latin typeface="Yu Gothic Medium" panose="020B0400000000000000" pitchFamily="34" charset="-128"/>
                <a:ea typeface="Yu Gothic Medium" panose="020B0400000000000000" pitchFamily="34" charset="-128"/>
              </a:defRPr>
            </a:lvl4pPr>
            <a:lvl5pPr>
              <a:spcAft>
                <a:spcPts val="1200"/>
              </a:spcAft>
              <a:defRPr sz="1400" b="0" i="0" spc="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pic>
        <p:nvPicPr>
          <p:cNvPr id="8" name="図 7">
            <a:extLst>
              <a:ext uri="{FF2B5EF4-FFF2-40B4-BE49-F238E27FC236}">
                <a16:creationId xmlns:a16="http://schemas.microsoft.com/office/drawing/2014/main" id="{BE32EB54-4AAA-C467-278B-54D27CD959E6}"/>
              </a:ext>
            </a:extLst>
          </p:cNvPr>
          <p:cNvPicPr>
            <a:picLocks noChangeAspect="1"/>
          </p:cNvPicPr>
          <p:nvPr userDrawn="1"/>
        </p:nvPicPr>
        <p:blipFill>
          <a:blip r:embed="rId4"/>
          <a:stretch>
            <a:fillRect/>
          </a:stretch>
        </p:blipFill>
        <p:spPr>
          <a:xfrm>
            <a:off x="1634539" y="976728"/>
            <a:ext cx="3585697" cy="260372"/>
          </a:xfrm>
          <a:prstGeom prst="rect">
            <a:avLst/>
          </a:prstGeom>
        </p:spPr>
      </p:pic>
      <p:sp>
        <p:nvSpPr>
          <p:cNvPr id="9" name="テキスト プレースホルダー 23">
            <a:extLst>
              <a:ext uri="{FF2B5EF4-FFF2-40B4-BE49-F238E27FC236}">
                <a16:creationId xmlns:a16="http://schemas.microsoft.com/office/drawing/2014/main" id="{14935653-0758-E77A-1255-20554304B19A}"/>
              </a:ext>
            </a:extLst>
          </p:cNvPr>
          <p:cNvSpPr>
            <a:spLocks noGrp="1"/>
          </p:cNvSpPr>
          <p:nvPr>
            <p:ph type="body" sz="quarter" idx="13" hasCustomPrompt="1"/>
          </p:nvPr>
        </p:nvSpPr>
        <p:spPr>
          <a:xfrm>
            <a:off x="1634539" y="5126391"/>
            <a:ext cx="4349115" cy="345042"/>
          </a:xfrm>
        </p:spPr>
        <p:txBody>
          <a:bodyPr anchor="b" anchorCtr="0">
            <a:noAutofit/>
          </a:bodyPr>
          <a:lstStyle>
            <a:lvl1pPr>
              <a:spcAft>
                <a:spcPts val="300"/>
              </a:spcAft>
              <a:defRPr sz="8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300"/>
              </a:spcAft>
              <a:defRPr sz="800" b="0" i="0">
                <a:solidFill>
                  <a:schemeClr val="tx2"/>
                </a:solidFill>
                <a:latin typeface="Yu Gothic Medium" panose="020B0400000000000000" pitchFamily="34" charset="-128"/>
                <a:ea typeface="Yu Gothic Medium" panose="020B0400000000000000" pitchFamily="34" charset="-128"/>
              </a:defRPr>
            </a:lvl2pPr>
            <a:lvl3pPr>
              <a:spcAft>
                <a:spcPts val="300"/>
              </a:spcAft>
              <a:defRPr sz="800" b="0" i="0">
                <a:solidFill>
                  <a:schemeClr val="tx2"/>
                </a:solidFill>
                <a:latin typeface="Yu Gothic Medium" panose="020B0400000000000000" pitchFamily="34" charset="-128"/>
                <a:ea typeface="Yu Gothic Medium" panose="020B0400000000000000" pitchFamily="34" charset="-128"/>
              </a:defRPr>
            </a:lvl3pPr>
            <a:lvl4pPr>
              <a:spcAft>
                <a:spcPts val="300"/>
              </a:spcAft>
              <a:defRPr sz="800" b="0" i="0">
                <a:solidFill>
                  <a:schemeClr val="tx2"/>
                </a:solidFill>
                <a:latin typeface="Yu Gothic Medium" panose="020B0400000000000000" pitchFamily="34" charset="-128"/>
                <a:ea typeface="Yu Gothic Medium" panose="020B0400000000000000" pitchFamily="34" charset="-128"/>
              </a:defRPr>
            </a:lvl4pPr>
            <a:lvl5pPr>
              <a:spcAft>
                <a:spcPts val="300"/>
              </a:spcAft>
              <a:defRPr sz="8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Tree>
    <p:extLst>
      <p:ext uri="{BB962C8B-B14F-4D97-AF65-F5344CB8AC3E}">
        <p14:creationId xmlns:p14="http://schemas.microsoft.com/office/powerpoint/2010/main" val="14717412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前段-3">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hasCustomPrompt="1"/>
          </p:nvPr>
        </p:nvSpPr>
        <p:spPr>
          <a:xfrm>
            <a:off x="978658" y="275024"/>
            <a:ext cx="10235442" cy="323165"/>
          </a:xfrm>
        </p:spPr>
        <p:txBody>
          <a:bodyPr anchor="ctr" anchorCtr="0">
            <a:noAutofit/>
          </a:bodyPr>
          <a:lstStyle>
            <a:lvl1pPr>
              <a:defRPr sz="2100" b="1" i="0" spc="0">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ext title</a:t>
            </a: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hasCustomPrompt="1"/>
          </p:nvPr>
        </p:nvSpPr>
        <p:spPr>
          <a:xfrm>
            <a:off x="977900" y="1021362"/>
            <a:ext cx="10235442" cy="940756"/>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Arial" panose="020B0604020202020204" pitchFamily="34" charset="0"/>
                <a:ea typeface="Yu Gothic Medium" panose="020B0400000000000000" pitchFamily="34" charset="-128"/>
                <a:cs typeface="Arial" panose="020B0604020202020204" pitchFamily="34" charset="0"/>
              </a:defRPr>
            </a:lvl2pPr>
            <a:lvl3pPr>
              <a:spcAft>
                <a:spcPts val="500"/>
              </a:spcAft>
              <a:defRPr sz="1600" b="0" i="0">
                <a:solidFill>
                  <a:schemeClr val="tx1"/>
                </a:solidFill>
                <a:latin typeface="Arial" panose="020B0604020202020204" pitchFamily="34" charset="0"/>
                <a:ea typeface="Yu Gothic Medium" panose="020B0400000000000000" pitchFamily="34" charset="-128"/>
                <a:cs typeface="Arial" panose="020B0604020202020204" pitchFamily="34" charset="0"/>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Tree>
    <p:extLst>
      <p:ext uri="{BB962C8B-B14F-4D97-AF65-F5344CB8AC3E}">
        <p14:creationId xmlns:p14="http://schemas.microsoft.com/office/powerpoint/2010/main" val="14903325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hasCustomPrompt="1"/>
          </p:nvPr>
        </p:nvSpPr>
        <p:spPr>
          <a:xfrm>
            <a:off x="978658" y="275024"/>
            <a:ext cx="10235442" cy="323165"/>
          </a:xfrm>
        </p:spPr>
        <p:txBody>
          <a:bodyPr anchor="ctr" anchorCtr="0">
            <a:noAutofit/>
          </a:bodyPr>
          <a:lstStyle>
            <a:lvl1pPr>
              <a:defRPr sz="2100" b="1" i="0" spc="0">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itle text</a:t>
            </a: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hasCustomPrompt="1"/>
          </p:nvPr>
        </p:nvSpPr>
        <p:spPr>
          <a:xfrm>
            <a:off x="977900" y="1295498"/>
            <a:ext cx="10235442" cy="4847715"/>
          </a:xfrm>
        </p:spPr>
        <p:txBody>
          <a:bodyPr>
            <a:noAutofit/>
          </a:bodyPr>
          <a:lstStyle>
            <a:lvl1pPr marL="357300" indent="-342900">
              <a:spcAft>
                <a:spcPts val="1000"/>
              </a:spcAft>
              <a:buFont typeface="+mj-lt"/>
              <a:buAutoNum type="arabicPeriod"/>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marL="8001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2pPr>
            <a:lvl3pPr marL="12573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3pPr>
            <a:lvl4pPr marL="17145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4pPr>
            <a:lvl5pPr marL="21717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Tree>
    <p:extLst>
      <p:ext uri="{BB962C8B-B14F-4D97-AF65-F5344CB8AC3E}">
        <p14:creationId xmlns:p14="http://schemas.microsoft.com/office/powerpoint/2010/main" val="10833962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前段-3">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5442" cy="323165"/>
          </a:xfrm>
        </p:spPr>
        <p:txBody>
          <a:bodyPr>
            <a:noAutofit/>
          </a:bodyPr>
          <a:lstStyle>
            <a:lvl1pPr>
              <a:defRPr sz="2100" b="1" i="0" spc="0">
                <a:latin typeface="Yu Gothic" panose="020B0400000000000000" pitchFamily="34" charset="-128"/>
                <a:ea typeface="Yu Gothic" panose="020B0400000000000000" pitchFamily="34" charset="-128"/>
              </a:defRPr>
            </a:lvl1pPr>
          </a:lstStyle>
          <a:p>
            <a:r>
              <a:rPr kumimoji="1" lang="ja-JP" altLang="en-US"/>
              <a:t>マスター タイトルの書式設定</a:t>
            </a: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noAutofit/>
          </a:bodyPr>
          <a:lstStyle/>
          <a:p>
            <a:endParaRPr kumimoji="1" lang="ja-JP" altLang="en-US"/>
          </a:p>
        </p:txBody>
      </p:sp>
    </p:spTree>
    <p:extLst>
      <p:ext uri="{BB962C8B-B14F-4D97-AF65-F5344CB8AC3E}">
        <p14:creationId xmlns:p14="http://schemas.microsoft.com/office/powerpoint/2010/main" val="9505428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ナビゲーションバー無し_タイトル1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5" name="テキスト プレースホルダー 23">
            <a:extLst>
              <a:ext uri="{FF2B5EF4-FFF2-40B4-BE49-F238E27FC236}">
                <a16:creationId xmlns:a16="http://schemas.microsoft.com/office/drawing/2014/main" id="{A3306673-5D8E-18CA-35ED-26F0E7522503}"/>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15CE4436-A8BD-3424-5B75-1ECBFCD1FF3D}"/>
              </a:ext>
            </a:extLst>
          </p:cNvPr>
          <p:cNvSpPr>
            <a:spLocks noGrp="1"/>
          </p:cNvSpPr>
          <p:nvPr>
            <p:ph type="title" hasCustomPrompt="1"/>
          </p:nvPr>
        </p:nvSpPr>
        <p:spPr>
          <a:xfrm>
            <a:off x="978658" y="27502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7" name="テキスト プレースホルダー 23">
            <a:extLst>
              <a:ext uri="{FF2B5EF4-FFF2-40B4-BE49-F238E27FC236}">
                <a16:creationId xmlns:a16="http://schemas.microsoft.com/office/drawing/2014/main" id="{CD0CC324-6CC2-D90E-BB46-25D428DDC74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14780430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ナビゲーションバー無し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5" name="テキスト プレースホルダー 23">
            <a:extLst>
              <a:ext uri="{FF2B5EF4-FFF2-40B4-BE49-F238E27FC236}">
                <a16:creationId xmlns:a16="http://schemas.microsoft.com/office/drawing/2014/main" id="{8F1C269C-D2A1-E29A-5AD7-83D7EA5775D0}"/>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BB6FBFAC-0ABF-42E7-C9BB-FF92855F246F}"/>
              </a:ext>
            </a:extLst>
          </p:cNvPr>
          <p:cNvSpPr>
            <a:spLocks noGrp="1"/>
          </p:cNvSpPr>
          <p:nvPr>
            <p:ph type="title" hasCustomPrompt="1"/>
          </p:nvPr>
        </p:nvSpPr>
        <p:spPr>
          <a:xfrm>
            <a:off x="978658" y="13943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0" name="テキスト プレースホルダー 23">
            <a:extLst>
              <a:ext uri="{FF2B5EF4-FFF2-40B4-BE49-F238E27FC236}">
                <a16:creationId xmlns:a16="http://schemas.microsoft.com/office/drawing/2014/main" id="{235425F9-6365-FE2D-1055-8F283777F13D}"/>
              </a:ext>
            </a:extLst>
          </p:cNvPr>
          <p:cNvSpPr>
            <a:spLocks noGrp="1"/>
          </p:cNvSpPr>
          <p:nvPr>
            <p:ph type="body" sz="quarter" idx="14" hasCustomPrompt="1"/>
          </p:nvPr>
        </p:nvSpPr>
        <p:spPr>
          <a:xfrm>
            <a:off x="977900" y="454692"/>
            <a:ext cx="10230680"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
        <p:nvSpPr>
          <p:cNvPr id="2" name="テキスト プレースホルダー 23">
            <a:extLst>
              <a:ext uri="{FF2B5EF4-FFF2-40B4-BE49-F238E27FC236}">
                <a16:creationId xmlns:a16="http://schemas.microsoft.com/office/drawing/2014/main" id="{F0947445-3276-F098-201F-8856894C5F18}"/>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25876426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__1_タイトル1段">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8F79545-7546-835A-912F-1797BBEA063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a:t>
            </a:r>
          </a:p>
        </p:txBody>
      </p:sp>
    </p:spTree>
    <p:extLst>
      <p:ext uri="{BB962C8B-B14F-4D97-AF65-F5344CB8AC3E}">
        <p14:creationId xmlns:p14="http://schemas.microsoft.com/office/powerpoint/2010/main" val="8008154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__1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a:t>
            </a:r>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pic>
        <p:nvPicPr>
          <p:cNvPr id="3" name="図 2">
            <a:extLst>
              <a:ext uri="{FF2B5EF4-FFF2-40B4-BE49-F238E27FC236}">
                <a16:creationId xmlns:a16="http://schemas.microsoft.com/office/drawing/2014/main" id="{1235BC64-5F54-29D8-60C3-1068F84CA3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5" name="テキスト プレースホルダー 23">
            <a:extLst>
              <a:ext uri="{FF2B5EF4-FFF2-40B4-BE49-F238E27FC236}">
                <a16:creationId xmlns:a16="http://schemas.microsoft.com/office/drawing/2014/main" id="{18F00DFE-5AF7-759D-86A9-B826A70DED7F}"/>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Tree>
    <p:extLst>
      <p:ext uri="{BB962C8B-B14F-4D97-AF65-F5344CB8AC3E}">
        <p14:creationId xmlns:p14="http://schemas.microsoft.com/office/powerpoint/2010/main" val="383547617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__2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E00A5F91-B95B-7B5D-AC82-ABBA279132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2</a:t>
            </a:r>
          </a:p>
        </p:txBody>
      </p:sp>
      <p:sp>
        <p:nvSpPr>
          <p:cNvPr id="7" name="テキスト プレースホルダー 23">
            <a:extLst>
              <a:ext uri="{FF2B5EF4-FFF2-40B4-BE49-F238E27FC236}">
                <a16:creationId xmlns:a16="http://schemas.microsoft.com/office/drawing/2014/main" id="{1287856E-28D8-9942-7E0D-540D7930786B}"/>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A8888A96-C02C-05E6-6240-33F5108BCFB4}"/>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33973022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__2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2</a:t>
            </a:r>
          </a:p>
        </p:txBody>
      </p:sp>
      <p:pic>
        <p:nvPicPr>
          <p:cNvPr id="5" name="図 4">
            <a:extLst>
              <a:ext uri="{FF2B5EF4-FFF2-40B4-BE49-F238E27FC236}">
                <a16:creationId xmlns:a16="http://schemas.microsoft.com/office/drawing/2014/main" id="{F235769C-C73E-4602-E19E-D6A61C7FFD6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9" name="テキスト プレースホルダー 23">
            <a:extLst>
              <a:ext uri="{FF2B5EF4-FFF2-40B4-BE49-F238E27FC236}">
                <a16:creationId xmlns:a16="http://schemas.microsoft.com/office/drawing/2014/main" id="{CC24424E-1246-D0AB-B919-2F8579C52A5A}"/>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10" name="タイトル 12">
            <a:extLst>
              <a:ext uri="{FF2B5EF4-FFF2-40B4-BE49-F238E27FC236}">
                <a16:creationId xmlns:a16="http://schemas.microsoft.com/office/drawing/2014/main" id="{F0E9EA66-84F5-E0EC-15EB-5FCA69621F91}"/>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18EE8594-5CFB-F3AD-311C-6B08C46E664C}"/>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17452464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__3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662D6EC4-4335-6D3D-839F-144CE8DEC44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3</a:t>
            </a:r>
          </a:p>
        </p:txBody>
      </p:sp>
      <p:sp>
        <p:nvSpPr>
          <p:cNvPr id="3" name="テキスト プレースホルダー 23">
            <a:extLst>
              <a:ext uri="{FF2B5EF4-FFF2-40B4-BE49-F238E27FC236}">
                <a16:creationId xmlns:a16="http://schemas.microsoft.com/office/drawing/2014/main" id="{39DD0870-1E60-B848-CBE1-1B47E011DFF3}"/>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5" name="タイトル 12">
            <a:extLst>
              <a:ext uri="{FF2B5EF4-FFF2-40B4-BE49-F238E27FC236}">
                <a16:creationId xmlns:a16="http://schemas.microsoft.com/office/drawing/2014/main" id="{0799B8CD-923A-73FB-8878-644D589487FC}"/>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40377363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__3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3</a:t>
            </a:r>
          </a:p>
        </p:txBody>
      </p:sp>
      <p:pic>
        <p:nvPicPr>
          <p:cNvPr id="10" name="図 9">
            <a:extLst>
              <a:ext uri="{FF2B5EF4-FFF2-40B4-BE49-F238E27FC236}">
                <a16:creationId xmlns:a16="http://schemas.microsoft.com/office/drawing/2014/main" id="{419E39A1-252C-CABB-6A8E-C37AFC6CB56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3" name="テキスト プレースホルダー 23">
            <a:extLst>
              <a:ext uri="{FF2B5EF4-FFF2-40B4-BE49-F238E27FC236}">
                <a16:creationId xmlns:a16="http://schemas.microsoft.com/office/drawing/2014/main" id="{366AFF01-4FB8-F63A-AEC6-C6A8DB603A73}"/>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7" name="タイトル 12">
            <a:extLst>
              <a:ext uri="{FF2B5EF4-FFF2-40B4-BE49-F238E27FC236}">
                <a16:creationId xmlns:a16="http://schemas.microsoft.com/office/drawing/2014/main" id="{711E4F66-9B62-8B3F-FBA0-D0D17BF6C4BD}"/>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8" name="テキスト プレースホルダー 23">
            <a:extLst>
              <a:ext uri="{FF2B5EF4-FFF2-40B4-BE49-F238E27FC236}">
                <a16:creationId xmlns:a16="http://schemas.microsoft.com/office/drawing/2014/main" id="{520D626A-F00D-B011-B06A-CAD773FBDA5C}"/>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11604594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__4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82FD9BC5-BD53-7063-B178-17F58F6FFF6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4</a:t>
            </a:r>
          </a:p>
        </p:txBody>
      </p:sp>
      <p:sp>
        <p:nvSpPr>
          <p:cNvPr id="7" name="テキスト プレースホルダー 23">
            <a:extLst>
              <a:ext uri="{FF2B5EF4-FFF2-40B4-BE49-F238E27FC236}">
                <a16:creationId xmlns:a16="http://schemas.microsoft.com/office/drawing/2014/main" id="{C0A68B30-1D82-70F6-33D3-8B3B767583A2}"/>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57072269-D100-B262-001F-3E7BC963A737}"/>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36204250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__4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4</a:t>
            </a:r>
          </a:p>
        </p:txBody>
      </p:sp>
      <p:pic>
        <p:nvPicPr>
          <p:cNvPr id="10" name="図 9">
            <a:extLst>
              <a:ext uri="{FF2B5EF4-FFF2-40B4-BE49-F238E27FC236}">
                <a16:creationId xmlns:a16="http://schemas.microsoft.com/office/drawing/2014/main" id="{0687789A-5D2D-64E1-10A5-07102C2D66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7" name="テキスト プレースホルダー 23">
            <a:extLst>
              <a:ext uri="{FF2B5EF4-FFF2-40B4-BE49-F238E27FC236}">
                <a16:creationId xmlns:a16="http://schemas.microsoft.com/office/drawing/2014/main" id="{CB16FD7A-4B28-BED5-9680-849A03F75F09}"/>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DD591102-EEB5-0E51-6BB5-1CB219EAC56E}"/>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5E5718D7-2EA4-3053-CFF0-5E1E83261FE0}"/>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1809495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5442" cy="323165"/>
          </a:xfrm>
        </p:spPr>
        <p:txBody>
          <a:bodyPr>
            <a:noAutofit/>
          </a:bodyPr>
          <a:lstStyle>
            <a:lvl1pPr>
              <a:defRPr sz="2100" b="1" i="0" spc="0">
                <a:latin typeface="Yu Gothic" panose="020B0400000000000000" pitchFamily="34" charset="-128"/>
                <a:ea typeface="Yu Gothic" panose="020B0400000000000000" pitchFamily="34" charset="-128"/>
              </a:defRPr>
            </a:lvl1pPr>
          </a:lstStyle>
          <a:p>
            <a:r>
              <a:rPr kumimoji="1" lang="ja-JP" altLang="en-US"/>
              <a:t>マスター タイトルの書式設定</a:t>
            </a: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295499"/>
            <a:ext cx="10235442" cy="4847722"/>
          </a:xfrm>
        </p:spPr>
        <p:txBody>
          <a:bodyPr>
            <a:noAutofit/>
          </a:bodyPr>
          <a:lstStyle>
            <a:lvl1pPr marL="3573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1pPr>
            <a:lvl2pPr marL="8001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2pPr>
            <a:lvl3pPr marL="12573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3pPr>
            <a:lvl4pPr marL="17145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4pPr>
            <a:lvl5pPr marL="2171700" indent="-342900">
              <a:spcAft>
                <a:spcPts val="1000"/>
              </a:spcAft>
              <a:buFont typeface="+mj-lt"/>
              <a:buAutoNum type="arabicPeriod"/>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Tree>
    <p:extLst>
      <p:ext uri="{BB962C8B-B14F-4D97-AF65-F5344CB8AC3E}">
        <p14:creationId xmlns:p14="http://schemas.microsoft.com/office/powerpoint/2010/main" val="22302816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__5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4EDDF2C6-C0E5-A13B-D134-84E04CBA7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5</a:t>
            </a:r>
          </a:p>
        </p:txBody>
      </p:sp>
      <p:sp>
        <p:nvSpPr>
          <p:cNvPr id="5" name="テキスト プレースホルダー 23">
            <a:extLst>
              <a:ext uri="{FF2B5EF4-FFF2-40B4-BE49-F238E27FC236}">
                <a16:creationId xmlns:a16="http://schemas.microsoft.com/office/drawing/2014/main" id="{1465166A-14BD-00AE-950D-B15C26E583C6}"/>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878116E1-1ACE-62F5-74F5-CEA6B58728DC}"/>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264197166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__5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5</a:t>
            </a:r>
          </a:p>
        </p:txBody>
      </p:sp>
      <p:pic>
        <p:nvPicPr>
          <p:cNvPr id="10" name="図 9">
            <a:extLst>
              <a:ext uri="{FF2B5EF4-FFF2-40B4-BE49-F238E27FC236}">
                <a16:creationId xmlns:a16="http://schemas.microsoft.com/office/drawing/2014/main" id="{4B703542-1D3A-C4EA-3D64-F99254B2F43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7" name="テキスト プレースホルダー 23">
            <a:extLst>
              <a:ext uri="{FF2B5EF4-FFF2-40B4-BE49-F238E27FC236}">
                <a16:creationId xmlns:a16="http://schemas.microsoft.com/office/drawing/2014/main" id="{735AEF8F-B3D9-9B78-861E-533CE9515DD6}"/>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9391BE9B-B3D4-CA4F-642A-D11174AE692E}"/>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FC860F80-1460-A327-F8FD-3915F90878D6}"/>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6967081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__6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57B2116-FD32-BAFA-6C11-2B84FBD26B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6</a:t>
            </a:r>
          </a:p>
        </p:txBody>
      </p:sp>
      <p:sp>
        <p:nvSpPr>
          <p:cNvPr id="7" name="テキスト プレースホルダー 23">
            <a:extLst>
              <a:ext uri="{FF2B5EF4-FFF2-40B4-BE49-F238E27FC236}">
                <a16:creationId xmlns:a16="http://schemas.microsoft.com/office/drawing/2014/main" id="{9C9054DB-30A4-CE7F-C659-AA512BB6C788}"/>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CB92D56F-7B6E-B15E-8722-81D320942A18}"/>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13136894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__6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6</a:t>
            </a:r>
          </a:p>
        </p:txBody>
      </p:sp>
      <p:pic>
        <p:nvPicPr>
          <p:cNvPr id="10" name="図 9">
            <a:extLst>
              <a:ext uri="{FF2B5EF4-FFF2-40B4-BE49-F238E27FC236}">
                <a16:creationId xmlns:a16="http://schemas.microsoft.com/office/drawing/2014/main" id="{C9075C27-A459-1544-FC9A-2750A4B914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7" name="テキスト プレースホルダー 23">
            <a:extLst>
              <a:ext uri="{FF2B5EF4-FFF2-40B4-BE49-F238E27FC236}">
                <a16:creationId xmlns:a16="http://schemas.microsoft.com/office/drawing/2014/main" id="{A0D281B7-6A7D-3196-930C-588F82E40934}"/>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C2C83E17-95AC-B459-2483-AD05219E98F0}"/>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59DE074E-F9DA-F435-DDD6-0F2E719F0342}"/>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33637653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__7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8833FF61-4E8B-C9DA-8DBB-7788C0460E6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7</a:t>
            </a:r>
          </a:p>
        </p:txBody>
      </p:sp>
      <p:sp>
        <p:nvSpPr>
          <p:cNvPr id="5" name="テキスト プレースホルダー 23">
            <a:extLst>
              <a:ext uri="{FF2B5EF4-FFF2-40B4-BE49-F238E27FC236}">
                <a16:creationId xmlns:a16="http://schemas.microsoft.com/office/drawing/2014/main" id="{A5FBAABC-48F6-CBD9-E8E7-B780F23D8727}"/>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D47CB786-506E-9472-0D6E-1D9C8889E7E2}"/>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40382553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__7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7</a:t>
            </a:r>
          </a:p>
        </p:txBody>
      </p:sp>
      <p:pic>
        <p:nvPicPr>
          <p:cNvPr id="3" name="図 2">
            <a:extLst>
              <a:ext uri="{FF2B5EF4-FFF2-40B4-BE49-F238E27FC236}">
                <a16:creationId xmlns:a16="http://schemas.microsoft.com/office/drawing/2014/main" id="{44621189-E88E-76A1-55D9-B3263A2DCA5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5" name="テキスト プレースホルダー 23">
            <a:extLst>
              <a:ext uri="{FF2B5EF4-FFF2-40B4-BE49-F238E27FC236}">
                <a16:creationId xmlns:a16="http://schemas.microsoft.com/office/drawing/2014/main" id="{8446188F-CA26-C59B-7B4D-A98DCC1391D5}"/>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69BCFFD2-0440-A592-927D-348EA69165C9}"/>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85A979A8-69BE-8505-2DAC-4806B1360FBD}"/>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3952195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__8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03DB2B1E-7132-EEF3-A27C-B664D608FC3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8</a:t>
            </a:r>
          </a:p>
        </p:txBody>
      </p:sp>
      <p:sp>
        <p:nvSpPr>
          <p:cNvPr id="7" name="テキスト プレースホルダー 23">
            <a:extLst>
              <a:ext uri="{FF2B5EF4-FFF2-40B4-BE49-F238E27FC236}">
                <a16:creationId xmlns:a16="http://schemas.microsoft.com/office/drawing/2014/main" id="{4726EC08-29A1-2C5B-5ED9-49BA1DEB6DED}"/>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5CB4861B-1749-BFBA-5961-1E6A4F828E73}"/>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17913857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__8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8</a:t>
            </a:r>
          </a:p>
        </p:txBody>
      </p:sp>
      <p:pic>
        <p:nvPicPr>
          <p:cNvPr id="10" name="図 9">
            <a:extLst>
              <a:ext uri="{FF2B5EF4-FFF2-40B4-BE49-F238E27FC236}">
                <a16:creationId xmlns:a16="http://schemas.microsoft.com/office/drawing/2014/main" id="{EA7A49B4-047D-D93E-32C1-AA317146004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7" name="テキスト プレースホルダー 23">
            <a:extLst>
              <a:ext uri="{FF2B5EF4-FFF2-40B4-BE49-F238E27FC236}">
                <a16:creationId xmlns:a16="http://schemas.microsoft.com/office/drawing/2014/main" id="{CEF6CFB0-64BD-556B-DD75-7A0EE8CB9D2C}"/>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6DF7105B-86A9-FCA6-6C93-ABB47F773214}"/>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7A3A9A69-00A3-D0BA-0689-F4FF8599DA6B}"/>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165873565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__9_タイトル1段">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B5C33BD5-D46F-AF62-A0B9-8DF907383B4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9</a:t>
            </a:r>
          </a:p>
        </p:txBody>
      </p:sp>
      <p:sp>
        <p:nvSpPr>
          <p:cNvPr id="5" name="テキスト プレースホルダー 23">
            <a:extLst>
              <a:ext uri="{FF2B5EF4-FFF2-40B4-BE49-F238E27FC236}">
                <a16:creationId xmlns:a16="http://schemas.microsoft.com/office/drawing/2014/main" id="{2A0F89F3-4CCF-160E-215F-95F2DF8DD070}"/>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F217DD59-5FFF-7909-5B76-AB148EED573C}"/>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35555476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__9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9</a:t>
            </a:r>
          </a:p>
        </p:txBody>
      </p:sp>
      <p:pic>
        <p:nvPicPr>
          <p:cNvPr id="10" name="図 9">
            <a:extLst>
              <a:ext uri="{FF2B5EF4-FFF2-40B4-BE49-F238E27FC236}">
                <a16:creationId xmlns:a16="http://schemas.microsoft.com/office/drawing/2014/main" id="{E1EE6E08-E022-65DB-1327-2E78ACF2EF3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7" name="テキスト プレースホルダー 23">
            <a:extLst>
              <a:ext uri="{FF2B5EF4-FFF2-40B4-BE49-F238E27FC236}">
                <a16:creationId xmlns:a16="http://schemas.microsoft.com/office/drawing/2014/main" id="{B6854066-232F-D937-9CED-748A322BA669}"/>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9D60C55D-78C0-EAA3-0BDA-1FA284D92BBE}"/>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1" name="テキスト プレースホルダー 23">
            <a:extLst>
              <a:ext uri="{FF2B5EF4-FFF2-40B4-BE49-F238E27FC236}">
                <a16:creationId xmlns:a16="http://schemas.microsoft.com/office/drawing/2014/main" id="{235828FD-BE74-CD62-72EE-B2DB96D78B73}"/>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1390630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ナビーゲーションバー無し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0680"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lang="ja-JP" altLang="en-US" sz="2100" b="1" spc="100">
              <a:solidFill>
                <a:srgbClr val="005295"/>
              </a:solidFill>
              <a:latin typeface="Yu Gothic" panose="020B0400000000000000" pitchFamily="34" charset="-128"/>
              <a:ea typeface="Yu Gothic" panose="020B0400000000000000" pitchFamily="34" charset="-128"/>
              <a:cs typeface="Yu Gothic Std"/>
            </a:endParaRPr>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テキスト プレースホルダー 23">
            <a:extLst>
              <a:ext uri="{FF2B5EF4-FFF2-40B4-BE49-F238E27FC236}">
                <a16:creationId xmlns:a16="http://schemas.microsoft.com/office/drawing/2014/main" id="{6AAD2607-9E59-DF8C-2FAD-FE389B7AD086}"/>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34416279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__10_タイトル1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0</a:t>
            </a:r>
          </a:p>
        </p:txBody>
      </p:sp>
      <p:pic>
        <p:nvPicPr>
          <p:cNvPr id="11" name="図 10">
            <a:extLst>
              <a:ext uri="{FF2B5EF4-FFF2-40B4-BE49-F238E27FC236}">
                <a16:creationId xmlns:a16="http://schemas.microsoft.com/office/drawing/2014/main" id="{8E913DEA-F26D-C726-143D-839E8AC02A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5" name="テキスト プレースホルダー 23">
            <a:extLst>
              <a:ext uri="{FF2B5EF4-FFF2-40B4-BE49-F238E27FC236}">
                <a16:creationId xmlns:a16="http://schemas.microsoft.com/office/drawing/2014/main" id="{A3306673-5D8E-18CA-35ED-26F0E7522503}"/>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15CE4436-A8BD-3424-5B75-1ECBFCD1FF3D}"/>
              </a:ext>
            </a:extLst>
          </p:cNvPr>
          <p:cNvSpPr>
            <a:spLocks noGrp="1"/>
          </p:cNvSpPr>
          <p:nvPr>
            <p:ph type="title" hasCustomPrompt="1"/>
          </p:nvPr>
        </p:nvSpPr>
        <p:spPr>
          <a:xfrm>
            <a:off x="978658" y="27502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332006551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__10_タイトル2段">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9D3251C7-46C3-8624-805E-29421DEDF5D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0</a:t>
            </a:r>
          </a:p>
        </p:txBody>
      </p:sp>
      <p:sp>
        <p:nvSpPr>
          <p:cNvPr id="5" name="テキスト プレースホルダー 23">
            <a:extLst>
              <a:ext uri="{FF2B5EF4-FFF2-40B4-BE49-F238E27FC236}">
                <a16:creationId xmlns:a16="http://schemas.microsoft.com/office/drawing/2014/main" id="{8F1C269C-D2A1-E29A-5AD7-83D7EA5775D0}"/>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BB6FBFAC-0ABF-42E7-C9BB-FF92855F246F}"/>
              </a:ext>
            </a:extLst>
          </p:cNvPr>
          <p:cNvSpPr>
            <a:spLocks noGrp="1"/>
          </p:cNvSpPr>
          <p:nvPr>
            <p:ph type="title" hasCustomPrompt="1"/>
          </p:nvPr>
        </p:nvSpPr>
        <p:spPr>
          <a:xfrm>
            <a:off x="978658" y="139434"/>
            <a:ext cx="6641341"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0" name="テキスト プレースホルダー 23">
            <a:extLst>
              <a:ext uri="{FF2B5EF4-FFF2-40B4-BE49-F238E27FC236}">
                <a16:creationId xmlns:a16="http://schemas.microsoft.com/office/drawing/2014/main" id="{235425F9-6365-FE2D-1055-8F283777F13D}"/>
              </a:ext>
            </a:extLst>
          </p:cNvPr>
          <p:cNvSpPr>
            <a:spLocks noGrp="1"/>
          </p:cNvSpPr>
          <p:nvPr>
            <p:ph type="body" sz="quarter" idx="14" hasCustomPrompt="1"/>
          </p:nvPr>
        </p:nvSpPr>
        <p:spPr>
          <a:xfrm>
            <a:off x="977900" y="454692"/>
            <a:ext cx="6641341"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8402628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ナンバリング無し_タイトル1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5" name="テキスト プレースホルダー 23">
            <a:extLst>
              <a:ext uri="{FF2B5EF4-FFF2-40B4-BE49-F238E27FC236}">
                <a16:creationId xmlns:a16="http://schemas.microsoft.com/office/drawing/2014/main" id="{A3306673-5D8E-18CA-35ED-26F0E7522503}"/>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8" name="タイトル 12">
            <a:extLst>
              <a:ext uri="{FF2B5EF4-FFF2-40B4-BE49-F238E27FC236}">
                <a16:creationId xmlns:a16="http://schemas.microsoft.com/office/drawing/2014/main" id="{15CE4436-A8BD-3424-5B75-1ECBFCD1FF3D}"/>
              </a:ext>
            </a:extLst>
          </p:cNvPr>
          <p:cNvSpPr>
            <a:spLocks noGrp="1"/>
          </p:cNvSpPr>
          <p:nvPr>
            <p:ph type="title" hasCustomPrompt="1"/>
          </p:nvPr>
        </p:nvSpPr>
        <p:spPr>
          <a:xfrm>
            <a:off x="978658" y="27502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Tree>
    <p:extLst>
      <p:ext uri="{BB962C8B-B14F-4D97-AF65-F5344CB8AC3E}">
        <p14:creationId xmlns:p14="http://schemas.microsoft.com/office/powerpoint/2010/main" val="405661223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ナンバリング無し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5" name="テキスト プレースホルダー 23">
            <a:extLst>
              <a:ext uri="{FF2B5EF4-FFF2-40B4-BE49-F238E27FC236}">
                <a16:creationId xmlns:a16="http://schemas.microsoft.com/office/drawing/2014/main" id="{8F1C269C-D2A1-E29A-5AD7-83D7EA5775D0}"/>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
        <p:nvSpPr>
          <p:cNvPr id="9" name="タイトル 12">
            <a:extLst>
              <a:ext uri="{FF2B5EF4-FFF2-40B4-BE49-F238E27FC236}">
                <a16:creationId xmlns:a16="http://schemas.microsoft.com/office/drawing/2014/main" id="{BB6FBFAC-0ABF-42E7-C9BB-FF92855F246F}"/>
              </a:ext>
            </a:extLst>
          </p:cNvPr>
          <p:cNvSpPr>
            <a:spLocks noGrp="1"/>
          </p:cNvSpPr>
          <p:nvPr>
            <p:ph type="title" hasCustomPrompt="1"/>
          </p:nvPr>
        </p:nvSpPr>
        <p:spPr>
          <a:xfrm>
            <a:off x="978658" y="139434"/>
            <a:ext cx="10230680" cy="323165"/>
          </a:xfrm>
        </p:spPr>
        <p:txBody>
          <a:bodyPr anchor="ctr" anchorCtr="0">
            <a:noAutofit/>
          </a:bodyPr>
          <a:lstStyle>
            <a:lvl1pPr>
              <a:defRPr sz="2100" b="1" i="0" spc="0">
                <a:solidFill>
                  <a:schemeClr val="tx2"/>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10" name="テキスト プレースホルダー 23">
            <a:extLst>
              <a:ext uri="{FF2B5EF4-FFF2-40B4-BE49-F238E27FC236}">
                <a16:creationId xmlns:a16="http://schemas.microsoft.com/office/drawing/2014/main" id="{235425F9-6365-FE2D-1055-8F283777F13D}"/>
              </a:ext>
            </a:extLst>
          </p:cNvPr>
          <p:cNvSpPr>
            <a:spLocks noGrp="1"/>
          </p:cNvSpPr>
          <p:nvPr>
            <p:ph type="body" sz="quarter" idx="14" hasCustomPrompt="1"/>
          </p:nvPr>
        </p:nvSpPr>
        <p:spPr>
          <a:xfrm>
            <a:off x="977900" y="454692"/>
            <a:ext cx="10230680" cy="296876"/>
          </a:xfrm>
        </p:spPr>
        <p:txBody>
          <a:bodyPr anchor="ctr" anchorCtr="0">
            <a:noAutofit/>
          </a:bodyPr>
          <a:lstStyle>
            <a:lvl1pPr>
              <a:spcAft>
                <a:spcPts val="500"/>
              </a:spcAft>
              <a:defRPr sz="1600" b="0" i="0">
                <a:solidFill>
                  <a:schemeClr val="tx2"/>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Tree>
    <p:extLst>
      <p:ext uri="{BB962C8B-B14F-4D97-AF65-F5344CB8AC3E}">
        <p14:creationId xmlns:p14="http://schemas.microsoft.com/office/powerpoint/2010/main" val="28442831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白紙">
    <p:bg>
      <p:bgPr>
        <a:solidFill>
          <a:schemeClr val="bg1"/>
        </a:solidFill>
        <a:effectLst/>
      </p:bgPr>
    </p:bg>
    <p:spTree>
      <p:nvGrpSpPr>
        <p:cNvPr id="1" name=""/>
        <p:cNvGrpSpPr/>
        <p:nvPr/>
      </p:nvGrpSpPr>
      <p:grpSpPr>
        <a:xfrm>
          <a:off x="0" y="0"/>
          <a:ext cx="0" cy="0"/>
          <a:chOff x="0" y="0"/>
          <a:chExt cx="0" cy="0"/>
        </a:xfrm>
      </p:grpSpPr>
      <p:sp>
        <p:nvSpPr>
          <p:cNvPr id="13" name="タイトル 12" hidden="1">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hidden="1">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hidden="1">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hidden="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hidden="1">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hidden="1">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pic>
        <p:nvPicPr>
          <p:cNvPr id="7" name="図 6" hidden="1">
            <a:extLst>
              <a:ext uri="{FF2B5EF4-FFF2-40B4-BE49-F238E27FC236}">
                <a16:creationId xmlns:a16="http://schemas.microsoft.com/office/drawing/2014/main" id="{E922B932-D198-0FD0-3171-A6E8C9ED0F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271106818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表紙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BAECB58-339C-F86C-5CB0-DEEDF8DFAD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ja-JP" altLang="en-US"/>
              <a:t>（役職）指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a:solidFill>
                  <a:schemeClr val="bg1"/>
                </a:solidFill>
                <a:latin typeface="Meiryo UI" panose="020B0604030504040204" pitchFamily="34" charset="-128"/>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4" name="LOGO" descr="テキスト&#10;&#10;自動的に生成された説明">
            <a:extLst>
              <a:ext uri="{FF2B5EF4-FFF2-40B4-BE49-F238E27FC236}">
                <a16:creationId xmlns:a16="http://schemas.microsoft.com/office/drawing/2014/main" id="{5B1F2DFA-201B-AC5B-7854-C7896AFF1A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12896" y="4501149"/>
            <a:ext cx="777105" cy="509781"/>
          </a:xfrm>
          <a:prstGeom prst="rect">
            <a:avLst/>
          </a:prstGeom>
        </p:spPr>
      </p:pic>
      <p:sp>
        <p:nvSpPr>
          <p:cNvPr id="5" name="object 13">
            <a:extLst>
              <a:ext uri="{FF2B5EF4-FFF2-40B4-BE49-F238E27FC236}">
                <a16:creationId xmlns:a16="http://schemas.microsoft.com/office/drawing/2014/main" id="{417D132C-783A-C000-F77C-7588E3BF021B}"/>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D49FA8D5-B242-1EED-B7B4-99663359D875}"/>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pic>
        <p:nvPicPr>
          <p:cNvPr id="9" name="図 8" descr="ロゴ&#10;&#10;中程度の精度で自動的に生成された説明">
            <a:extLst>
              <a:ext uri="{FF2B5EF4-FFF2-40B4-BE49-F238E27FC236}">
                <a16:creationId xmlns:a16="http://schemas.microsoft.com/office/drawing/2014/main" id="{2FE06FE5-22EE-526B-3177-093CB7FC46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07260" y="4499765"/>
            <a:ext cx="1606280" cy="517300"/>
          </a:xfrm>
          <a:prstGeom prst="rect">
            <a:avLst/>
          </a:prstGeom>
        </p:spPr>
      </p:pic>
    </p:spTree>
    <p:extLst>
      <p:ext uri="{BB962C8B-B14F-4D97-AF65-F5344CB8AC3E}">
        <p14:creationId xmlns:p14="http://schemas.microsoft.com/office/powerpoint/2010/main" val="33628787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16376119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本文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pic>
        <p:nvPicPr>
          <p:cNvPr id="5" name="BAM_LOGO" descr="アイコン&#10;&#10;自動的に生成された説明">
            <a:extLst>
              <a:ext uri="{FF2B5EF4-FFF2-40B4-BE49-F238E27FC236}">
                <a16:creationId xmlns:a16="http://schemas.microsoft.com/office/drawing/2014/main" id="{B512E199-7640-C4BF-75F5-CB2F5BEB6C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360142227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D5872FB-3951-9C71-38D9-F95EAED20B9A}"/>
              </a:ext>
            </a:extLst>
          </p:cNvPr>
          <p:cNvGrpSpPr/>
          <p:nvPr userDrawn="1"/>
        </p:nvGrpSpPr>
        <p:grpSpPr>
          <a:xfrm>
            <a:off x="0" y="0"/>
            <a:ext cx="12192000" cy="6858367"/>
            <a:chOff x="0" y="0"/>
            <a:chExt cx="12192000" cy="6858367"/>
          </a:xfrm>
        </p:grpSpPr>
        <p:pic>
          <p:nvPicPr>
            <p:cNvPr id="3" name="図 2" descr="海に泳いでいる&#10;&#10;自動的に生成された説明">
              <a:extLst>
                <a:ext uri="{FF2B5EF4-FFF2-40B4-BE49-F238E27FC236}">
                  <a16:creationId xmlns:a16="http://schemas.microsoft.com/office/drawing/2014/main" id="{D9B0EA4F-C783-9247-58DA-5F17BC5CFB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73C7E1A5-FA5C-28A5-26B1-EB7814C40AC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object 3">
            <a:extLst>
              <a:ext uri="{FF2B5EF4-FFF2-40B4-BE49-F238E27FC236}">
                <a16:creationId xmlns:a16="http://schemas.microsoft.com/office/drawing/2014/main" id="{08321986-B0F2-CAF0-8DA8-3C3785466D4C}"/>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11" name="object 4">
            <a:extLst>
              <a:ext uri="{FF2B5EF4-FFF2-40B4-BE49-F238E27FC236}">
                <a16:creationId xmlns:a16="http://schemas.microsoft.com/office/drawing/2014/main" id="{4094AEAC-94BE-59D2-C4C0-F7B0EAFCA59C}"/>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2" name="タイトル 4">
            <a:extLst>
              <a:ext uri="{FF2B5EF4-FFF2-40B4-BE49-F238E27FC236}">
                <a16:creationId xmlns:a16="http://schemas.microsoft.com/office/drawing/2014/main" id="{43E8DDDD-185C-8D35-8446-E89B4AD64AB4}"/>
              </a:ext>
            </a:extLst>
          </p:cNvPr>
          <p:cNvSpPr>
            <a:spLocks noGrp="1"/>
          </p:cNvSpPr>
          <p:nvPr>
            <p:ph type="title"/>
          </p:nvPr>
        </p:nvSpPr>
        <p:spPr>
          <a:xfrm>
            <a:off x="1169488" y="2500011"/>
            <a:ext cx="4316912" cy="361637"/>
          </a:xfrm>
        </p:spPr>
        <p:txBody>
          <a:bodyPr>
            <a:noAutofit/>
          </a:bodyPr>
          <a:lstStyle>
            <a:lvl1pPr algn="ctr">
              <a:defRPr sz="2800" b="1" i="0">
                <a:solidFill>
                  <a:schemeClr val="tx1"/>
                </a:solidFill>
                <a:latin typeface="Yu Gothic" panose="020B0400000000000000" pitchFamily="34" charset="-128"/>
                <a:ea typeface="Yu Gothic" panose="020B0400000000000000" pitchFamily="34" charset="-128"/>
                <a:cs typeface="Arial" panose="020B0604020202020204" pitchFamily="34" charset="0"/>
              </a:defRPr>
            </a:lvl1pPr>
          </a:lstStyle>
          <a:p>
            <a:endParaRPr kumimoji="1" lang="ja-JP" altLang="en-US"/>
          </a:p>
        </p:txBody>
      </p:sp>
      <p:sp>
        <p:nvSpPr>
          <p:cNvPr id="13" name="テキスト プレースホルダー 22">
            <a:extLst>
              <a:ext uri="{FF2B5EF4-FFF2-40B4-BE49-F238E27FC236}">
                <a16:creationId xmlns:a16="http://schemas.microsoft.com/office/drawing/2014/main" id="{53B6E0EF-88A0-5373-4FA1-F8A2A149F742}"/>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Yu Gothic Medium" panose="020B0400000000000000" pitchFamily="34" charset="-128"/>
                <a:ea typeface="Yu Gothic Medium" panose="020B0400000000000000" pitchFamily="34" charset="-128"/>
              </a:defRPr>
            </a:lvl1pPr>
          </a:lstStyle>
          <a:p>
            <a:pPr lvl="0"/>
            <a:r>
              <a:rPr kumimoji="1" lang="ja-JP" altLang="en-US"/>
              <a:t>サブタイトル</a:t>
            </a:r>
          </a:p>
        </p:txBody>
      </p:sp>
      <p:sp>
        <p:nvSpPr>
          <p:cNvPr id="14" name="object 12">
            <a:extLst>
              <a:ext uri="{FF2B5EF4-FFF2-40B4-BE49-F238E27FC236}">
                <a16:creationId xmlns:a16="http://schemas.microsoft.com/office/drawing/2014/main" id="{940DBB74-7D85-5848-24BB-D8AD483FE4DF}"/>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5" name="object 13">
            <a:extLst>
              <a:ext uri="{FF2B5EF4-FFF2-40B4-BE49-F238E27FC236}">
                <a16:creationId xmlns:a16="http://schemas.microsoft.com/office/drawing/2014/main" id="{84B76BE8-FF9A-A21A-CC32-B674DFBFB0A0}"/>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6" name="テキスト プレースホルダー 17">
            <a:extLst>
              <a:ext uri="{FF2B5EF4-FFF2-40B4-BE49-F238E27FC236}">
                <a16:creationId xmlns:a16="http://schemas.microsoft.com/office/drawing/2014/main" id="{F5269317-7FFF-D43F-6B56-74DBA27C475A}"/>
              </a:ext>
            </a:extLst>
          </p:cNvPr>
          <p:cNvSpPr>
            <a:spLocks noGrp="1"/>
          </p:cNvSpPr>
          <p:nvPr>
            <p:ph type="body" sz="quarter" idx="13"/>
          </p:nvPr>
        </p:nvSpPr>
        <p:spPr>
          <a:xfrm>
            <a:off x="1169488" y="1553983"/>
            <a:ext cx="4316911" cy="279049"/>
          </a:xfrm>
        </p:spPr>
        <p:txBody>
          <a:bodyPr anchor="ctr" anchorCtr="0">
            <a:noAutofit/>
          </a:bodyPr>
          <a:lstStyle>
            <a:lvl1pPr algn="ctr">
              <a:defRPr sz="1800">
                <a:solidFill>
                  <a:schemeClr val="tx2"/>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7" name="テキスト プレースホルダー 17">
            <a:extLst>
              <a:ext uri="{FF2B5EF4-FFF2-40B4-BE49-F238E27FC236}">
                <a16:creationId xmlns:a16="http://schemas.microsoft.com/office/drawing/2014/main" id="{869145FC-15D3-07DD-F7BC-C8023E1C08AF}"/>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a:t>
            </a:r>
            <a:r>
              <a:rPr kumimoji="1" lang="ja-JP" altLang="en-US"/>
              <a:t>年</a:t>
            </a:r>
            <a:r>
              <a:rPr kumimoji="1" lang="en-US" altLang="ja-JP"/>
              <a:t>X</a:t>
            </a:r>
            <a:r>
              <a:rPr kumimoji="1" lang="ja-JP" altLang="en-US"/>
              <a:t>月</a:t>
            </a:r>
          </a:p>
        </p:txBody>
      </p:sp>
      <p:pic>
        <p:nvPicPr>
          <p:cNvPr id="2" name="図 1" descr="ロゴ&#10;&#10;自動的に生成された説明">
            <a:extLst>
              <a:ext uri="{FF2B5EF4-FFF2-40B4-BE49-F238E27FC236}">
                <a16:creationId xmlns:a16="http://schemas.microsoft.com/office/drawing/2014/main" id="{AAF6F365-9DA1-5556-986E-27916633AE9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886419" y="4470537"/>
            <a:ext cx="880182" cy="579160"/>
          </a:xfrm>
          <a:prstGeom prst="rect">
            <a:avLst/>
          </a:prstGeom>
        </p:spPr>
      </p:pic>
      <p:sp>
        <p:nvSpPr>
          <p:cNvPr id="18" name="スライド番号プレースホルダー 24">
            <a:extLst>
              <a:ext uri="{FF2B5EF4-FFF2-40B4-BE49-F238E27FC236}">
                <a16:creationId xmlns:a16="http://schemas.microsoft.com/office/drawing/2014/main" id="{2B7E284F-61DF-4077-BB65-22293D827B59}"/>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422841077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pic>
        <p:nvPicPr>
          <p:cNvPr id="3" name="図 2" descr="背景パターン&#10;&#10;自動的に生成された説明">
            <a:extLst>
              <a:ext uri="{FF2B5EF4-FFF2-40B4-BE49-F238E27FC236}">
                <a16:creationId xmlns:a16="http://schemas.microsoft.com/office/drawing/2014/main" id="{BFE14AAA-9B22-49EF-47AF-992BB8937C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7" name="テキスト プレースホルダー 23">
            <a:extLst>
              <a:ext uri="{FF2B5EF4-FFF2-40B4-BE49-F238E27FC236}">
                <a16:creationId xmlns:a16="http://schemas.microsoft.com/office/drawing/2014/main" id="{7CA73F3A-B4C6-B201-9FA1-F97E675551C3}"/>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39491324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ナビーゲーションバー無し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0680"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0680"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en-US" altLang="ja-JP"/>
          </a:p>
        </p:txBody>
      </p:sp>
      <p:sp>
        <p:nvSpPr>
          <p:cNvPr id="2" name="テキスト プレースホルダー 23">
            <a:extLst>
              <a:ext uri="{FF2B5EF4-FFF2-40B4-BE49-F238E27FC236}">
                <a16:creationId xmlns:a16="http://schemas.microsoft.com/office/drawing/2014/main" id="{6D66E442-13DC-FEE4-CB44-1D5AF161566D}"/>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accent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3207723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pic>
        <p:nvPicPr>
          <p:cNvPr id="5" name="図 4" descr="背景パターン&#10;&#10;自動的に生成された説明">
            <a:extLst>
              <a:ext uri="{FF2B5EF4-FFF2-40B4-BE49-F238E27FC236}">
                <a16:creationId xmlns:a16="http://schemas.microsoft.com/office/drawing/2014/main" id="{E6E3AEF1-B156-39FA-E2C7-F3247204567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sp>
        <p:nvSpPr>
          <p:cNvPr id="3" name="テキスト プレースホルダー 23">
            <a:extLst>
              <a:ext uri="{FF2B5EF4-FFF2-40B4-BE49-F238E27FC236}">
                <a16:creationId xmlns:a16="http://schemas.microsoft.com/office/drawing/2014/main" id="{8DDE5366-03EE-5B59-BAB0-F0E5131329CF}"/>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4722393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3" name="図 2" descr="背景パターン&#10;&#10;自動的に生成された説明">
            <a:extLst>
              <a:ext uri="{FF2B5EF4-FFF2-40B4-BE49-F238E27FC236}">
                <a16:creationId xmlns:a16="http://schemas.microsoft.com/office/drawing/2014/main" id="{C9ECAB6D-D598-C7C2-51B8-D6E0CAC6328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Tree>
    <p:extLst>
      <p:ext uri="{BB962C8B-B14F-4D97-AF65-F5344CB8AC3E}">
        <p14:creationId xmlns:p14="http://schemas.microsoft.com/office/powerpoint/2010/main" val="70723446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3" name="図 2" descr="背景パターン&#10;&#10;自動的に生成された説明">
            <a:extLst>
              <a:ext uri="{FF2B5EF4-FFF2-40B4-BE49-F238E27FC236}">
                <a16:creationId xmlns:a16="http://schemas.microsoft.com/office/drawing/2014/main" id="{F2B64DBD-83D4-A06F-712D-800A1BCA144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Tree>
    <p:extLst>
      <p:ext uri="{BB962C8B-B14F-4D97-AF65-F5344CB8AC3E}">
        <p14:creationId xmlns:p14="http://schemas.microsoft.com/office/powerpoint/2010/main" val="20497072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4135218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Tree>
    <p:extLst>
      <p:ext uri="{BB962C8B-B14F-4D97-AF65-F5344CB8AC3E}">
        <p14:creationId xmlns:p14="http://schemas.microsoft.com/office/powerpoint/2010/main" val="1954648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本文_BAM">
    <p:spTree>
      <p:nvGrpSpPr>
        <p:cNvPr id="1" name=""/>
        <p:cNvGrpSpPr/>
        <p:nvPr/>
      </p:nvGrpSpPr>
      <p:grpSpPr>
        <a:xfrm>
          <a:off x="0" y="0"/>
          <a:ext cx="0" cy="0"/>
          <a:chOff x="0" y="0"/>
          <a:chExt cx="0" cy="0"/>
        </a:xfrm>
      </p:grpSpPr>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25" name="スライド番号">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r>
              <a:rPr kumimoji="1" lang="en-US" altLang="ja-JP"/>
              <a:t>‹#›</a:t>
            </a:r>
          </a:p>
        </p:txBody>
      </p:sp>
      <p:sp>
        <p:nvSpPr>
          <p:cNvPr id="2" name="本文">
            <a:extLst>
              <a:ext uri="{FF2B5EF4-FFF2-40B4-BE49-F238E27FC236}">
                <a16:creationId xmlns:a16="http://schemas.microsoft.com/office/drawing/2014/main" id="{81AEEF02-1BFB-3EB0-19ED-C218A8A17AE8}"/>
              </a:ext>
            </a:extLst>
          </p:cNvPr>
          <p:cNvSpPr>
            <a:spLocks noGrp="1"/>
          </p:cNvSpPr>
          <p:nvPr>
            <p:ph type="body" sz="quarter" idx="11"/>
          </p:nvPr>
        </p:nvSpPr>
        <p:spPr>
          <a:xfrm>
            <a:off x="977900" y="1021361"/>
            <a:ext cx="10235442" cy="5166918"/>
          </a:xfrm>
        </p:spPr>
        <p:txBody>
          <a:bodyPr>
            <a:noAutofit/>
          </a:bodyPr>
          <a:lstStyle>
            <a:lvl1pPr>
              <a:spcAft>
                <a:spcPts val="500"/>
              </a:spcAft>
              <a:defRPr sz="1600" b="0" i="0">
                <a:solidFill>
                  <a:schemeClr val="tx1"/>
                </a:solidFill>
                <a:latin typeface="Meiryo UI" panose="020B0604030504040204" pitchFamily="34" charset="-128"/>
                <a:ea typeface="Meiryo UI" panose="020B0604030504040204" pitchFamily="34" charset="-128"/>
              </a:defRPr>
            </a:lvl1pPr>
            <a:lvl2pPr>
              <a:spcAft>
                <a:spcPts val="500"/>
              </a:spcAft>
              <a:defRPr sz="1600" b="0" i="0">
                <a:solidFill>
                  <a:schemeClr val="tx1"/>
                </a:solidFill>
                <a:latin typeface="Meiryo UI" panose="020B0604030504040204" pitchFamily="34" charset="-128"/>
                <a:ea typeface="Meiryo UI" panose="020B0604030504040204" pitchFamily="34" charset="-128"/>
              </a:defRPr>
            </a:lvl2pPr>
            <a:lvl3pPr>
              <a:spcAft>
                <a:spcPts val="500"/>
              </a:spcAft>
              <a:defRPr sz="1600" b="0" i="0">
                <a:solidFill>
                  <a:schemeClr val="tx1"/>
                </a:solidFill>
                <a:latin typeface="Meiryo UI" panose="020B0604030504040204" pitchFamily="34" charset="-128"/>
                <a:ea typeface="Meiryo UI" panose="020B0604030504040204"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3" name="タイトル">
            <a:extLst>
              <a:ext uri="{FF2B5EF4-FFF2-40B4-BE49-F238E27FC236}">
                <a16:creationId xmlns:a16="http://schemas.microsoft.com/office/drawing/2014/main" id="{857DE349-559E-28B3-516B-A7100EAE585C}"/>
              </a:ext>
            </a:extLst>
          </p:cNvPr>
          <p:cNvSpPr>
            <a:spLocks noGrp="1"/>
          </p:cNvSpPr>
          <p:nvPr>
            <p:ph type="title"/>
          </p:nvPr>
        </p:nvSpPr>
        <p:spPr>
          <a:xfrm>
            <a:off x="978658" y="275024"/>
            <a:ext cx="10235442" cy="323165"/>
          </a:xfrm>
        </p:spPr>
        <p:txBody>
          <a:bodyPr>
            <a:noAutofit/>
          </a:bodyPr>
          <a:lstStyle>
            <a:lvl1pPr>
              <a:defRPr sz="2100" b="1" i="0" spc="0">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pic>
        <p:nvPicPr>
          <p:cNvPr id="5" name="BAM_LOGO" descr="アイコン&#10;&#10;自動的に生成された説明">
            <a:extLst>
              <a:ext uri="{FF2B5EF4-FFF2-40B4-BE49-F238E27FC236}">
                <a16:creationId xmlns:a16="http://schemas.microsoft.com/office/drawing/2014/main" id="{B512E199-7640-C4BF-75F5-CB2F5BEB6C4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3342" y="0"/>
            <a:ext cx="977900" cy="889000"/>
          </a:xfrm>
          <a:prstGeom prst="rect">
            <a:avLst/>
          </a:prstGeom>
        </p:spPr>
      </p:pic>
    </p:spTree>
    <p:extLst>
      <p:ext uri="{BB962C8B-B14F-4D97-AF65-F5344CB8AC3E}">
        <p14:creationId xmlns:p14="http://schemas.microsoft.com/office/powerpoint/2010/main" val="4181096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表紙_A">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BAECB58-339C-F86C-5CB0-DEEDF8DFAD9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pic>
        <p:nvPicPr>
          <p:cNvPr id="3" name="図 2">
            <a:extLst>
              <a:ext uri="{FF2B5EF4-FFF2-40B4-BE49-F238E27FC236}">
                <a16:creationId xmlns:a16="http://schemas.microsoft.com/office/drawing/2014/main" id="{4162FC05-AD16-7B24-B216-B9A1ADBC59E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16" name="名前">
            <a:extLst>
              <a:ext uri="{FF2B5EF4-FFF2-40B4-BE49-F238E27FC236}">
                <a16:creationId xmlns:a16="http://schemas.microsoft.com/office/drawing/2014/main" id="{43018499-C620-465D-9DB6-E8E69535AC88}"/>
              </a:ext>
            </a:extLst>
          </p:cNvPr>
          <p:cNvSpPr>
            <a:spLocks noGrp="1"/>
          </p:cNvSpPr>
          <p:nvPr>
            <p:ph type="body" sz="quarter" idx="13" hasCustomPrompt="1"/>
          </p:nvPr>
        </p:nvSpPr>
        <p:spPr>
          <a:xfrm>
            <a:off x="1684563" y="4021027"/>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ja-JP" altLang="en-US"/>
              <a:t>（役職）指名</a:t>
            </a:r>
          </a:p>
        </p:txBody>
      </p:sp>
      <p:sp>
        <p:nvSpPr>
          <p:cNvPr id="15" name="部署">
            <a:extLst>
              <a:ext uri="{FF2B5EF4-FFF2-40B4-BE49-F238E27FC236}">
                <a16:creationId xmlns:a16="http://schemas.microsoft.com/office/drawing/2014/main" id="{5A4C3E20-A39C-6AE5-0144-B24CDF210178}"/>
              </a:ext>
            </a:extLst>
          </p:cNvPr>
          <p:cNvSpPr>
            <a:spLocks noGrp="1"/>
          </p:cNvSpPr>
          <p:nvPr>
            <p:ph type="body" sz="quarter" idx="12" hasCustomPrompt="1"/>
          </p:nvPr>
        </p:nvSpPr>
        <p:spPr>
          <a:xfrm>
            <a:off x="1684563" y="3785903"/>
            <a:ext cx="3286760" cy="210507"/>
          </a:xfrm>
        </p:spPr>
        <p:txBody>
          <a:bodyPr/>
          <a:lstStyle>
            <a:lvl1pPr algn="ctr">
              <a:defRPr sz="1200" b="0" i="0">
                <a:solidFill>
                  <a:schemeClr val="bg1"/>
                </a:solidFill>
                <a:latin typeface="Meiryo UI" panose="020B0604030504040204" pitchFamily="34" charset="-128"/>
                <a:ea typeface="Meiryo UI" panose="020B0604030504040204" pitchFamily="34" charset="-128"/>
              </a:defRPr>
            </a:lvl1pPr>
          </a:lstStyle>
          <a:p>
            <a:pPr lvl="0"/>
            <a:r>
              <a:rPr kumimoji="1" lang="en-US" altLang="ja-JP"/>
              <a:t>XX</a:t>
            </a:r>
            <a:r>
              <a:rPr kumimoji="1" lang="ja-JP" altLang="en-US"/>
              <a:t>本部　</a:t>
            </a:r>
            <a:r>
              <a:rPr kumimoji="1" lang="en-US" altLang="ja-JP"/>
              <a:t>XX</a:t>
            </a:r>
            <a:r>
              <a:rPr kumimoji="1" lang="ja-JP" altLang="en-US"/>
              <a:t>部　</a:t>
            </a:r>
            <a:r>
              <a:rPr kumimoji="1" lang="en-US" altLang="ja-JP"/>
              <a:t>XX</a:t>
            </a:r>
            <a:r>
              <a:rPr kumimoji="1" lang="ja-JP" altLang="en-US"/>
              <a:t>グループ</a:t>
            </a:r>
          </a:p>
        </p:txBody>
      </p:sp>
      <p:sp>
        <p:nvSpPr>
          <p:cNvPr id="14" name="日付">
            <a:extLst>
              <a:ext uri="{FF2B5EF4-FFF2-40B4-BE49-F238E27FC236}">
                <a16:creationId xmlns:a16="http://schemas.microsoft.com/office/drawing/2014/main" id="{2F5D6FEF-12D6-0AA9-B3B8-8DCB7AB20E7E}"/>
              </a:ext>
            </a:extLst>
          </p:cNvPr>
          <p:cNvSpPr>
            <a:spLocks noGrp="1"/>
          </p:cNvSpPr>
          <p:nvPr>
            <p:ph type="body" sz="quarter" idx="11" hasCustomPrompt="1"/>
          </p:nvPr>
        </p:nvSpPr>
        <p:spPr>
          <a:xfrm>
            <a:off x="1684564" y="3604459"/>
            <a:ext cx="3286760" cy="147284"/>
          </a:xfrm>
        </p:spPr>
        <p:txBody>
          <a:bodyPr/>
          <a:lstStyle>
            <a:lvl1pPr algn="ctr">
              <a:defRPr sz="800" b="0" i="0" spc="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00/00</a:t>
            </a:r>
            <a:endParaRPr kumimoji="1" lang="ja-JP" altLang="en-US"/>
          </a:p>
        </p:txBody>
      </p:sp>
      <p:sp>
        <p:nvSpPr>
          <p:cNvPr id="7" name="メインタイトル">
            <a:extLst>
              <a:ext uri="{FF2B5EF4-FFF2-40B4-BE49-F238E27FC236}">
                <a16:creationId xmlns:a16="http://schemas.microsoft.com/office/drawing/2014/main" id="{09ECA78D-08B5-DCBE-DF4E-62A668CC3311}"/>
              </a:ext>
            </a:extLst>
          </p:cNvPr>
          <p:cNvSpPr>
            <a:spLocks noGrp="1"/>
          </p:cNvSpPr>
          <p:nvPr>
            <p:ph type="title"/>
          </p:nvPr>
        </p:nvSpPr>
        <p:spPr>
          <a:xfrm>
            <a:off x="1684564" y="1742505"/>
            <a:ext cx="3286760" cy="1604223"/>
          </a:xfrm>
        </p:spPr>
        <p:txBody>
          <a:bodyPr anchor="ctr" anchorCtr="1">
            <a:noAutofit/>
          </a:bodyPr>
          <a:lstStyle>
            <a:lvl1pPr algn="ctr">
              <a:defRPr sz="2350" b="1" i="0">
                <a:solidFill>
                  <a:schemeClr val="bg1"/>
                </a:solidFill>
                <a:latin typeface="Meiryo UI" panose="020B0604030504040204" pitchFamily="34" charset="-128"/>
                <a:ea typeface="Meiryo UI" panose="020B0604030504040204" pitchFamily="34" charset="-128"/>
              </a:defRPr>
            </a:lvl1pPr>
          </a:lstStyle>
          <a:p>
            <a:r>
              <a:rPr kumimoji="1" lang="ja-JP" altLang="en-US"/>
              <a:t>マスター タイトルの書式設定</a:t>
            </a:r>
          </a:p>
        </p:txBody>
      </p:sp>
      <p:sp>
        <p:nvSpPr>
          <p:cNvPr id="13" name="サブタイトル">
            <a:extLst>
              <a:ext uri="{FF2B5EF4-FFF2-40B4-BE49-F238E27FC236}">
                <a16:creationId xmlns:a16="http://schemas.microsoft.com/office/drawing/2014/main" id="{44D4296A-6987-C785-337C-072DCB78B5D9}"/>
              </a:ext>
            </a:extLst>
          </p:cNvPr>
          <p:cNvSpPr>
            <a:spLocks noGrp="1"/>
          </p:cNvSpPr>
          <p:nvPr>
            <p:ph type="body" sz="quarter" idx="10"/>
          </p:nvPr>
        </p:nvSpPr>
        <p:spPr>
          <a:xfrm>
            <a:off x="1684565" y="1299248"/>
            <a:ext cx="3286759" cy="279049"/>
          </a:xfrm>
        </p:spPr>
        <p:txBody>
          <a:bodyPr>
            <a:noAutofit/>
          </a:bodyPr>
          <a:lstStyle>
            <a:lvl1pPr algn="ctr">
              <a:defRPr sz="1500" b="0" i="0">
                <a:solidFill>
                  <a:schemeClr val="bg1"/>
                </a:solidFill>
                <a:latin typeface="Meiryo UI" panose="020B0604030504040204" pitchFamily="34" charset="-128"/>
                <a:ea typeface="Meiryo UI" panose="020B0604030504040204" pitchFamily="34" charset="-128"/>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pic>
        <p:nvPicPr>
          <p:cNvPr id="4" name="LOGO" descr="テキスト&#10;&#10;自動的に生成された説明">
            <a:extLst>
              <a:ext uri="{FF2B5EF4-FFF2-40B4-BE49-F238E27FC236}">
                <a16:creationId xmlns:a16="http://schemas.microsoft.com/office/drawing/2014/main" id="{5B1F2DFA-201B-AC5B-7854-C7896AFF1AB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12896" y="4501149"/>
            <a:ext cx="777105" cy="509781"/>
          </a:xfrm>
          <a:prstGeom prst="rect">
            <a:avLst/>
          </a:prstGeom>
        </p:spPr>
      </p:pic>
      <p:sp>
        <p:nvSpPr>
          <p:cNvPr id="5" name="object 13">
            <a:extLst>
              <a:ext uri="{FF2B5EF4-FFF2-40B4-BE49-F238E27FC236}">
                <a16:creationId xmlns:a16="http://schemas.microsoft.com/office/drawing/2014/main" id="{417D132C-783A-C000-F77C-7588E3BF021B}"/>
              </a:ext>
            </a:extLst>
          </p:cNvPr>
          <p:cNvSpPr/>
          <p:nvPr userDrawn="1"/>
        </p:nvSpPr>
        <p:spPr>
          <a:xfrm>
            <a:off x="1684564" y="3346743"/>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sp>
        <p:nvSpPr>
          <p:cNvPr id="6" name="object 12">
            <a:extLst>
              <a:ext uri="{FF2B5EF4-FFF2-40B4-BE49-F238E27FC236}">
                <a16:creationId xmlns:a16="http://schemas.microsoft.com/office/drawing/2014/main" id="{D49FA8D5-B242-1EED-B7B4-99663359D875}"/>
              </a:ext>
            </a:extLst>
          </p:cNvPr>
          <p:cNvSpPr/>
          <p:nvPr userDrawn="1"/>
        </p:nvSpPr>
        <p:spPr>
          <a:xfrm>
            <a:off x="1684564" y="1742505"/>
            <a:ext cx="3286760" cy="0"/>
          </a:xfrm>
          <a:custGeom>
            <a:avLst/>
            <a:gdLst/>
            <a:ahLst/>
            <a:cxnLst/>
            <a:rect l="l" t="t" r="r" b="b"/>
            <a:pathLst>
              <a:path w="3286760">
                <a:moveTo>
                  <a:pt x="0" y="0"/>
                </a:moveTo>
                <a:lnTo>
                  <a:pt x="3286239" y="0"/>
                </a:lnTo>
              </a:path>
            </a:pathLst>
          </a:custGeom>
          <a:ln w="4229">
            <a:solidFill>
              <a:srgbClr val="FFFFFF"/>
            </a:solidFill>
          </a:ln>
        </p:spPr>
        <p:txBody>
          <a:bodyPr wrap="square" lIns="0" tIns="0" rIns="0" bIns="0" rtlCol="0"/>
          <a:lstStyle/>
          <a:p>
            <a:endParaRPr/>
          </a:p>
        </p:txBody>
      </p:sp>
      <p:pic>
        <p:nvPicPr>
          <p:cNvPr id="9" name="図 8" descr="ロゴ&#10;&#10;中程度の精度で自動的に生成された説明">
            <a:extLst>
              <a:ext uri="{FF2B5EF4-FFF2-40B4-BE49-F238E27FC236}">
                <a16:creationId xmlns:a16="http://schemas.microsoft.com/office/drawing/2014/main" id="{2FE06FE5-22EE-526B-3177-093CB7FC46F2}"/>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207260" y="4499765"/>
            <a:ext cx="1606280" cy="517300"/>
          </a:xfrm>
          <a:prstGeom prst="rect">
            <a:avLst/>
          </a:prstGeom>
        </p:spPr>
      </p:pic>
    </p:spTree>
    <p:extLst>
      <p:ext uri="{BB962C8B-B14F-4D97-AF65-F5344CB8AC3E}">
        <p14:creationId xmlns:p14="http://schemas.microsoft.com/office/powerpoint/2010/main" val="13541603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8" name="グループ化 7">
            <a:extLst>
              <a:ext uri="{FF2B5EF4-FFF2-40B4-BE49-F238E27FC236}">
                <a16:creationId xmlns:a16="http://schemas.microsoft.com/office/drawing/2014/main" id="{8C169A29-3402-FA7E-B83E-3DA0EC383FB0}"/>
              </a:ext>
            </a:extLst>
          </p:cNvPr>
          <p:cNvGrpSpPr/>
          <p:nvPr userDrawn="1"/>
        </p:nvGrpSpPr>
        <p:grpSpPr>
          <a:xfrm>
            <a:off x="0" y="0"/>
            <a:ext cx="12192000" cy="6858000"/>
            <a:chOff x="0" y="0"/>
            <a:chExt cx="12192000" cy="6858000"/>
          </a:xfrm>
        </p:grpSpPr>
        <p:pic>
          <p:nvPicPr>
            <p:cNvPr id="3" name="図 2" descr="海に泳いでいる&#10;&#10;自動的に生成された説明">
              <a:extLst>
                <a:ext uri="{FF2B5EF4-FFF2-40B4-BE49-F238E27FC236}">
                  <a16:creationId xmlns:a16="http://schemas.microsoft.com/office/drawing/2014/main" id="{1BCF5346-6893-4A8D-60FB-03B2F2A2E59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5" name="図 4">
              <a:extLst>
                <a:ext uri="{FF2B5EF4-FFF2-40B4-BE49-F238E27FC236}">
                  <a16:creationId xmlns:a16="http://schemas.microsoft.com/office/drawing/2014/main" id="{FA58F460-D025-12EF-9676-C30F83B441C4}"/>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grpSp>
      <p:sp>
        <p:nvSpPr>
          <p:cNvPr id="4" name="object 3">
            <a:extLst>
              <a:ext uri="{FF2B5EF4-FFF2-40B4-BE49-F238E27FC236}">
                <a16:creationId xmlns:a16="http://schemas.microsoft.com/office/drawing/2014/main" id="{31DE5574-4F28-F095-2AE7-5858E75A83F0}"/>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7" name="object 4">
            <a:extLst>
              <a:ext uri="{FF2B5EF4-FFF2-40B4-BE49-F238E27FC236}">
                <a16:creationId xmlns:a16="http://schemas.microsoft.com/office/drawing/2014/main" id="{76B35A29-674F-1391-5A0A-BA0E22C3A68A}"/>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0" name="タイトル 4">
            <a:extLst>
              <a:ext uri="{FF2B5EF4-FFF2-40B4-BE49-F238E27FC236}">
                <a16:creationId xmlns:a16="http://schemas.microsoft.com/office/drawing/2014/main" id="{C325F2D9-3078-0053-5D57-AED71B8AE917}"/>
              </a:ext>
            </a:extLst>
          </p:cNvPr>
          <p:cNvSpPr>
            <a:spLocks noGrp="1"/>
          </p:cNvSpPr>
          <p:nvPr>
            <p:ph type="title" hasCustomPrompt="1"/>
          </p:nvPr>
        </p:nvSpPr>
        <p:spPr>
          <a:xfrm>
            <a:off x="1169488" y="2500011"/>
            <a:ext cx="4316912" cy="361637"/>
          </a:xfrm>
        </p:spPr>
        <p:txBody>
          <a:bodyPr>
            <a:noAutofit/>
          </a:bodyPr>
          <a:lstStyle>
            <a:lvl1pPr algn="ctr">
              <a:defRPr sz="2800" b="1" i="0">
                <a:solidFill>
                  <a:schemeClr val="tx1"/>
                </a:solidFill>
                <a:latin typeface="Segoe UI" panose="020B0502040204020203" pitchFamily="34" charset="0"/>
                <a:ea typeface="Yu Gothic" panose="020B0400000000000000" pitchFamily="34" charset="-128"/>
                <a:cs typeface="Segoe UI" panose="020B0502040204020203" pitchFamily="34" charset="0"/>
              </a:defRPr>
            </a:lvl1pPr>
          </a:lstStyle>
          <a:p>
            <a:r>
              <a:rPr kumimoji="1" lang="en-US" altLang="ja-JP"/>
              <a:t>title text</a:t>
            </a:r>
            <a:endParaRPr kumimoji="1" lang="ja-JP" altLang="en-US"/>
          </a:p>
        </p:txBody>
      </p:sp>
      <p:sp>
        <p:nvSpPr>
          <p:cNvPr id="11" name="テキスト プレースホルダー 22">
            <a:extLst>
              <a:ext uri="{FF2B5EF4-FFF2-40B4-BE49-F238E27FC236}">
                <a16:creationId xmlns:a16="http://schemas.microsoft.com/office/drawing/2014/main" id="{2A10989C-9A87-8C83-2EB6-4CBB46C2F5B6}"/>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stStyle>
          <a:p>
            <a:pPr marL="0" marR="0" lvl="0" indent="0" algn="ctr" defTabSz="914400" eaLnBrk="1" fontAlgn="auto" latinLnBrk="0" hangingPunct="1">
              <a:lnSpc>
                <a:spcPct val="130000"/>
              </a:lnSpc>
              <a:spcBef>
                <a:spcPts val="0"/>
              </a:spcBef>
              <a:spcAft>
                <a:spcPts val="0"/>
              </a:spcAft>
              <a:buClrTx/>
              <a:buSzTx/>
              <a:buFontTx/>
              <a:buNone/>
              <a:tabLst/>
              <a:defRPr/>
            </a:pPr>
            <a:r>
              <a:rPr kumimoji="1" lang="en-US" altLang="ja-JP"/>
              <a:t>sample text</a:t>
            </a:r>
            <a:endParaRPr kumimoji="1" lang="ja-JP" altLang="en-US"/>
          </a:p>
        </p:txBody>
      </p:sp>
      <p:sp>
        <p:nvSpPr>
          <p:cNvPr id="12" name="object 12">
            <a:extLst>
              <a:ext uri="{FF2B5EF4-FFF2-40B4-BE49-F238E27FC236}">
                <a16:creationId xmlns:a16="http://schemas.microsoft.com/office/drawing/2014/main" id="{24A74926-ADEF-B048-8884-8ED88AA76951}"/>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3" name="object 13">
            <a:extLst>
              <a:ext uri="{FF2B5EF4-FFF2-40B4-BE49-F238E27FC236}">
                <a16:creationId xmlns:a16="http://schemas.microsoft.com/office/drawing/2014/main" id="{ECB2D6CE-B779-D091-9D74-7872698900AB}"/>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4" name="テキスト プレースホルダー 17">
            <a:extLst>
              <a:ext uri="{FF2B5EF4-FFF2-40B4-BE49-F238E27FC236}">
                <a16:creationId xmlns:a16="http://schemas.microsoft.com/office/drawing/2014/main" id="{0E23B581-F8B2-0AA6-A03C-F1E513304259}"/>
              </a:ext>
            </a:extLst>
          </p:cNvPr>
          <p:cNvSpPr>
            <a:spLocks noGrp="1"/>
          </p:cNvSpPr>
          <p:nvPr>
            <p:ph type="body" sz="quarter" idx="13" hasCustomPrompt="1"/>
          </p:nvPr>
        </p:nvSpPr>
        <p:spPr>
          <a:xfrm>
            <a:off x="1169488" y="1553983"/>
            <a:ext cx="4316911" cy="279049"/>
          </a:xfrm>
        </p:spPr>
        <p:txBody>
          <a:bodyPr anchor="ctr" anchorCtr="0">
            <a:noAutofit/>
          </a:bodyPr>
          <a:lstStyle>
            <a:lvl1pPr algn="ctr">
              <a:defRPr sz="1800" b="0" i="0">
                <a:solidFill>
                  <a:schemeClr val="tx2"/>
                </a:solidFill>
                <a:latin typeface="Segoe UI" panose="020B0502040204020203" pitchFamily="34" charset="0"/>
                <a:cs typeface="Segoe UI" panose="020B0502040204020203" pitchFamily="34" charset="0"/>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en-US" altLang="ja-JP"/>
              <a:t>sample text</a:t>
            </a:r>
            <a:endParaRPr kumimoji="1" lang="ja-JP" altLang="en-US"/>
          </a:p>
        </p:txBody>
      </p:sp>
      <p:sp>
        <p:nvSpPr>
          <p:cNvPr id="15" name="テキスト プレースホルダー 17">
            <a:extLst>
              <a:ext uri="{FF2B5EF4-FFF2-40B4-BE49-F238E27FC236}">
                <a16:creationId xmlns:a16="http://schemas.microsoft.com/office/drawing/2014/main" id="{953FF019-158B-98A6-FFA9-4BBC497E1437}"/>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X</a:t>
            </a:r>
            <a:endParaRPr kumimoji="1" lang="ja-JP" altLang="en-US"/>
          </a:p>
        </p:txBody>
      </p:sp>
      <p:pic>
        <p:nvPicPr>
          <p:cNvPr id="2" name="図 1" descr="ロゴ, 会社名&#10;&#10;自動的に生成された説明">
            <a:extLst>
              <a:ext uri="{FF2B5EF4-FFF2-40B4-BE49-F238E27FC236}">
                <a16:creationId xmlns:a16="http://schemas.microsoft.com/office/drawing/2014/main" id="{C1F12750-A49E-01A5-853E-42BC5CBCC7F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884926" y="4534128"/>
            <a:ext cx="881022" cy="453726"/>
          </a:xfrm>
          <a:prstGeom prst="rect">
            <a:avLst/>
          </a:prstGeom>
        </p:spPr>
      </p:pic>
      <p:sp>
        <p:nvSpPr>
          <p:cNvPr id="16" name="スライド番号プレースホルダー 24">
            <a:extLst>
              <a:ext uri="{FF2B5EF4-FFF2-40B4-BE49-F238E27FC236}">
                <a16:creationId xmlns:a16="http://schemas.microsoft.com/office/drawing/2014/main" id="{91630051-45D6-4DFC-BCA9-02857DDFCBD4}"/>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8036723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pic>
        <p:nvPicPr>
          <p:cNvPr id="5" name="図 4" descr="背景パターン&#10;&#10;自動的に生成された説明">
            <a:extLst>
              <a:ext uri="{FF2B5EF4-FFF2-40B4-BE49-F238E27FC236}">
                <a16:creationId xmlns:a16="http://schemas.microsoft.com/office/drawing/2014/main" id="{89FFA7E4-515C-D18F-A300-B2C35EAE29C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タイトル 12">
            <a:extLst>
              <a:ext uri="{FF2B5EF4-FFF2-40B4-BE49-F238E27FC236}">
                <a16:creationId xmlns:a16="http://schemas.microsoft.com/office/drawing/2014/main" id="{0E19334F-68F6-C1E7-11EF-8396EA53D32E}"/>
              </a:ext>
            </a:extLst>
          </p:cNvPr>
          <p:cNvSpPr>
            <a:spLocks noGrp="1"/>
          </p:cNvSpPr>
          <p:nvPr>
            <p:ph type="title" hasCustomPrompt="1"/>
          </p:nvPr>
        </p:nvSpPr>
        <p:spPr>
          <a:xfrm>
            <a:off x="978658" y="275024"/>
            <a:ext cx="10234684" cy="323165"/>
          </a:xfrm>
        </p:spPr>
        <p:txBody>
          <a:bodyPr anchor="ctr" anchorCtr="0">
            <a:noAutofit/>
          </a:bodyPr>
          <a:lstStyle>
            <a:lvl1pPr>
              <a:defRPr sz="2100" b="1" i="0" spc="0">
                <a:solidFill>
                  <a:schemeClr val="accent3"/>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9" name="テキスト プレースホルダー 23">
            <a:extLst>
              <a:ext uri="{FF2B5EF4-FFF2-40B4-BE49-F238E27FC236}">
                <a16:creationId xmlns:a16="http://schemas.microsoft.com/office/drawing/2014/main" id="{47A978E3-0838-4D96-942D-185279503367}"/>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
        <p:nvSpPr>
          <p:cNvPr id="3" name="テキスト プレースホルダー 23">
            <a:extLst>
              <a:ext uri="{FF2B5EF4-FFF2-40B4-BE49-F238E27FC236}">
                <a16:creationId xmlns:a16="http://schemas.microsoft.com/office/drawing/2014/main" id="{B64D1CE3-6ACF-52BF-24D6-FC95D61ABBDC}"/>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Tree>
    <p:extLst>
      <p:ext uri="{BB962C8B-B14F-4D97-AF65-F5344CB8AC3E}">
        <p14:creationId xmlns:p14="http://schemas.microsoft.com/office/powerpoint/2010/main" val="145523762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pic>
        <p:nvPicPr>
          <p:cNvPr id="3" name="図 2" descr="背景パターン&#10;&#10;自動的に生成された説明">
            <a:extLst>
              <a:ext uri="{FF2B5EF4-FFF2-40B4-BE49-F238E27FC236}">
                <a16:creationId xmlns:a16="http://schemas.microsoft.com/office/drawing/2014/main" id="{AA0B2D27-0F3B-19E8-16E8-66608EF0A69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タイトル 12">
            <a:extLst>
              <a:ext uri="{FF2B5EF4-FFF2-40B4-BE49-F238E27FC236}">
                <a16:creationId xmlns:a16="http://schemas.microsoft.com/office/drawing/2014/main" id="{7A560073-660F-5A6F-F5DC-33135C0AC4DD}"/>
              </a:ext>
            </a:extLst>
          </p:cNvPr>
          <p:cNvSpPr>
            <a:spLocks noGrp="1"/>
          </p:cNvSpPr>
          <p:nvPr>
            <p:ph type="title" hasCustomPrompt="1"/>
          </p:nvPr>
        </p:nvSpPr>
        <p:spPr>
          <a:xfrm>
            <a:off x="978658" y="139434"/>
            <a:ext cx="10234684" cy="323165"/>
          </a:xfrm>
        </p:spPr>
        <p:txBody>
          <a:bodyPr anchor="ctr" anchorCtr="0">
            <a:noAutofit/>
          </a:bodyPr>
          <a:lstStyle>
            <a:lvl1pPr>
              <a:defRPr sz="2100" b="1" i="0" spc="0">
                <a:solidFill>
                  <a:schemeClr val="accent3"/>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8" name="テキスト プレースホルダー 23">
            <a:extLst>
              <a:ext uri="{FF2B5EF4-FFF2-40B4-BE49-F238E27FC236}">
                <a16:creationId xmlns:a16="http://schemas.microsoft.com/office/drawing/2014/main" id="{C5579366-8555-3B43-3A16-8172F851900C}"/>
              </a:ext>
            </a:extLst>
          </p:cNvPr>
          <p:cNvSpPr>
            <a:spLocks noGrp="1"/>
          </p:cNvSpPr>
          <p:nvPr>
            <p:ph type="body" sz="quarter" idx="14" hasCustomPrompt="1"/>
          </p:nvPr>
        </p:nvSpPr>
        <p:spPr>
          <a:xfrm>
            <a:off x="977900" y="454692"/>
            <a:ext cx="10234684" cy="296876"/>
          </a:xfrm>
        </p:spPr>
        <p:txBody>
          <a:bodyPr>
            <a:noAutofit/>
          </a:bodyPr>
          <a:lstStyle>
            <a:lvl1pPr>
              <a:spcAft>
                <a:spcPts val="500"/>
              </a:spcAft>
              <a:defRPr sz="1600" b="0" i="0">
                <a:solidFill>
                  <a:schemeClr val="accent3"/>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
        <p:nvSpPr>
          <p:cNvPr id="10" name="テキスト プレースホルダー 23">
            <a:extLst>
              <a:ext uri="{FF2B5EF4-FFF2-40B4-BE49-F238E27FC236}">
                <a16:creationId xmlns:a16="http://schemas.microsoft.com/office/drawing/2014/main" id="{D8A37DD5-3BC8-F9BA-B669-D40545929309}"/>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
        <p:nvSpPr>
          <p:cNvPr id="5" name="テキスト プレースホルダー 23">
            <a:extLst>
              <a:ext uri="{FF2B5EF4-FFF2-40B4-BE49-F238E27FC236}">
                <a16:creationId xmlns:a16="http://schemas.microsoft.com/office/drawing/2014/main" id="{B340891C-A1E4-D876-BA3F-07DA719D4B46}"/>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spTree>
    <p:extLst>
      <p:ext uri="{BB962C8B-B14F-4D97-AF65-F5344CB8AC3E}">
        <p14:creationId xmlns:p14="http://schemas.microsoft.com/office/powerpoint/2010/main" val="11596886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__1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a:t>
            </a:r>
          </a:p>
        </p:txBody>
      </p:sp>
      <p:pic>
        <p:nvPicPr>
          <p:cNvPr id="32" name="図 31">
            <a:extLst>
              <a:ext uri="{FF2B5EF4-FFF2-40B4-BE49-F238E27FC236}">
                <a16:creationId xmlns:a16="http://schemas.microsoft.com/office/drawing/2014/main" id="{033FEAD7-8745-68C2-976B-AE2AECC348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Tree>
    <p:extLst>
      <p:ext uri="{BB962C8B-B14F-4D97-AF65-F5344CB8AC3E}">
        <p14:creationId xmlns:p14="http://schemas.microsoft.com/office/powerpoint/2010/main" val="193602837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タイトル 12">
            <a:extLst>
              <a:ext uri="{FF2B5EF4-FFF2-40B4-BE49-F238E27FC236}">
                <a16:creationId xmlns:a16="http://schemas.microsoft.com/office/drawing/2014/main" id="{0E19334F-68F6-C1E7-11EF-8396EA53D32E}"/>
              </a:ext>
            </a:extLst>
          </p:cNvPr>
          <p:cNvSpPr>
            <a:spLocks noGrp="1"/>
          </p:cNvSpPr>
          <p:nvPr>
            <p:ph type="title" hasCustomPrompt="1"/>
          </p:nvPr>
        </p:nvSpPr>
        <p:spPr>
          <a:xfrm>
            <a:off x="978658" y="275024"/>
            <a:ext cx="10234684" cy="323165"/>
          </a:xfrm>
        </p:spPr>
        <p:txBody>
          <a:bodyPr anchor="ctr" anchorCtr="0">
            <a:noAutofit/>
          </a:bodyPr>
          <a:lstStyle>
            <a:lvl1pPr>
              <a:defRPr sz="2100" b="1" i="0" spc="0">
                <a:solidFill>
                  <a:schemeClr val="accent3"/>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3" name="テキスト プレースホルダー 23">
            <a:extLst>
              <a:ext uri="{FF2B5EF4-FFF2-40B4-BE49-F238E27FC236}">
                <a16:creationId xmlns:a16="http://schemas.microsoft.com/office/drawing/2014/main" id="{B64D1CE3-6ACF-52BF-24D6-FC95D61ABBDC}"/>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pic>
        <p:nvPicPr>
          <p:cNvPr id="5" name="図 4" descr="背景パターン&#10;&#10;自動的に生成された説明">
            <a:extLst>
              <a:ext uri="{FF2B5EF4-FFF2-40B4-BE49-F238E27FC236}">
                <a16:creationId xmlns:a16="http://schemas.microsoft.com/office/drawing/2014/main" id="{392279B4-B038-54DE-E524-7F41050D8F5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Tree>
    <p:extLst>
      <p:ext uri="{BB962C8B-B14F-4D97-AF65-F5344CB8AC3E}">
        <p14:creationId xmlns:p14="http://schemas.microsoft.com/office/powerpoint/2010/main" val="4897812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タイトル 12">
            <a:extLst>
              <a:ext uri="{FF2B5EF4-FFF2-40B4-BE49-F238E27FC236}">
                <a16:creationId xmlns:a16="http://schemas.microsoft.com/office/drawing/2014/main" id="{7A560073-660F-5A6F-F5DC-33135C0AC4DD}"/>
              </a:ext>
            </a:extLst>
          </p:cNvPr>
          <p:cNvSpPr>
            <a:spLocks noGrp="1"/>
          </p:cNvSpPr>
          <p:nvPr>
            <p:ph type="title" hasCustomPrompt="1"/>
          </p:nvPr>
        </p:nvSpPr>
        <p:spPr>
          <a:xfrm>
            <a:off x="978658" y="139434"/>
            <a:ext cx="10234684" cy="323165"/>
          </a:xfrm>
        </p:spPr>
        <p:txBody>
          <a:bodyPr anchor="ctr" anchorCtr="0">
            <a:noAutofit/>
          </a:bodyPr>
          <a:lstStyle>
            <a:lvl1pPr>
              <a:defRPr sz="2100" b="1" i="0" spc="0">
                <a:solidFill>
                  <a:schemeClr val="accent3"/>
                </a:solidFill>
                <a:latin typeface="Segoe UI" panose="020B0502040204020203" pitchFamily="34" charset="0"/>
                <a:ea typeface="Yu Gothic" panose="020B0400000000000000" pitchFamily="34" charset="-128"/>
                <a:cs typeface="Segoe UI" panose="020B0502040204020203" pitchFamily="34"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a:t>Title text</a:t>
            </a:r>
            <a:endParaRPr kumimoji="1" lang="ja-JP" altLang="en-US"/>
          </a:p>
        </p:txBody>
      </p:sp>
      <p:sp>
        <p:nvSpPr>
          <p:cNvPr id="8" name="テキスト プレースホルダー 23">
            <a:extLst>
              <a:ext uri="{FF2B5EF4-FFF2-40B4-BE49-F238E27FC236}">
                <a16:creationId xmlns:a16="http://schemas.microsoft.com/office/drawing/2014/main" id="{C5579366-8555-3B43-3A16-8172F851900C}"/>
              </a:ext>
            </a:extLst>
          </p:cNvPr>
          <p:cNvSpPr>
            <a:spLocks noGrp="1"/>
          </p:cNvSpPr>
          <p:nvPr>
            <p:ph type="body" sz="quarter" idx="14" hasCustomPrompt="1"/>
          </p:nvPr>
        </p:nvSpPr>
        <p:spPr>
          <a:xfrm>
            <a:off x="977900" y="454692"/>
            <a:ext cx="10234684" cy="296876"/>
          </a:xfrm>
        </p:spPr>
        <p:txBody>
          <a:bodyPr>
            <a:noAutofit/>
          </a:bodyPr>
          <a:lstStyle>
            <a:lvl1pPr>
              <a:spcAft>
                <a:spcPts val="500"/>
              </a:spcAft>
              <a:defRPr sz="1600" b="0" i="0">
                <a:solidFill>
                  <a:schemeClr val="accent3"/>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r>
              <a:rPr kumimoji="1" lang="en-US" altLang="ja-JP"/>
              <a:t>sample text</a:t>
            </a:r>
          </a:p>
        </p:txBody>
      </p:sp>
      <p:sp>
        <p:nvSpPr>
          <p:cNvPr id="5" name="テキスト プレースホルダー 23">
            <a:extLst>
              <a:ext uri="{FF2B5EF4-FFF2-40B4-BE49-F238E27FC236}">
                <a16:creationId xmlns:a16="http://schemas.microsoft.com/office/drawing/2014/main" id="{B340891C-A1E4-D876-BA3F-07DA719D4B46}"/>
              </a:ext>
            </a:extLst>
          </p:cNvPr>
          <p:cNvSpPr>
            <a:spLocks noGrp="1"/>
          </p:cNvSpPr>
          <p:nvPr>
            <p:ph type="body" sz="quarter" idx="11" hasCustomPrompt="1"/>
          </p:nvPr>
        </p:nvSpPr>
        <p:spPr>
          <a:xfrm>
            <a:off x="977900" y="1021361"/>
            <a:ext cx="10235442" cy="940767"/>
          </a:xfrm>
        </p:spPr>
        <p:txBody>
          <a:bodyPr>
            <a:noAutofit/>
          </a:bodyPr>
          <a:lstStyle>
            <a:lvl1pPr>
              <a:lnSpc>
                <a:spcPct val="110000"/>
              </a:lnSpc>
              <a:spcAft>
                <a:spcPts val="500"/>
              </a:spcAft>
              <a:defRPr sz="1600" b="0" i="0">
                <a:solidFill>
                  <a:schemeClr val="tx1"/>
                </a:solidFill>
                <a:latin typeface="Segoe UI" panose="020B0502040204020203" pitchFamily="34" charset="0"/>
                <a:ea typeface="Yu Gothic Medium" panose="020B0400000000000000" pitchFamily="34" charset="-128"/>
                <a:cs typeface="Segoe UI" panose="020B0502040204020203" pitchFamily="34" charset="0"/>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sample text</a:t>
            </a:r>
            <a:endParaRPr kumimoji="1" lang="ja-JP" altLang="en-US"/>
          </a:p>
        </p:txBody>
      </p:sp>
      <p:pic>
        <p:nvPicPr>
          <p:cNvPr id="3" name="図 2" descr="背景パターン&#10;&#10;自動的に生成された説明">
            <a:extLst>
              <a:ext uri="{FF2B5EF4-FFF2-40B4-BE49-F238E27FC236}">
                <a16:creationId xmlns:a16="http://schemas.microsoft.com/office/drawing/2014/main" id="{84D1DF08-4BDB-E52C-82FB-F818407870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876300" cy="876300"/>
          </a:xfrm>
          <a:prstGeom prst="rect">
            <a:avLst/>
          </a:prstGeom>
        </p:spPr>
      </p:pic>
    </p:spTree>
    <p:extLst>
      <p:ext uri="{BB962C8B-B14F-4D97-AF65-F5344CB8AC3E}">
        <p14:creationId xmlns:p14="http://schemas.microsoft.com/office/powerpoint/2010/main" val="19923093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31660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D5872FB-3951-9C71-38D9-F95EAED20B9A}"/>
              </a:ext>
            </a:extLst>
          </p:cNvPr>
          <p:cNvGrpSpPr/>
          <p:nvPr userDrawn="1"/>
        </p:nvGrpSpPr>
        <p:grpSpPr>
          <a:xfrm>
            <a:off x="0" y="0"/>
            <a:ext cx="12192000" cy="6858367"/>
            <a:chOff x="0" y="0"/>
            <a:chExt cx="12192000" cy="6858367"/>
          </a:xfrm>
        </p:grpSpPr>
        <p:pic>
          <p:nvPicPr>
            <p:cNvPr id="3" name="図 2" descr="海に泳いでいる&#10;&#10;自動的に生成された説明">
              <a:extLst>
                <a:ext uri="{FF2B5EF4-FFF2-40B4-BE49-F238E27FC236}">
                  <a16:creationId xmlns:a16="http://schemas.microsoft.com/office/drawing/2014/main" id="{D9B0EA4F-C783-9247-58DA-5F17BC5CFB0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73C7E1A5-FA5C-28A5-26B1-EB7814C40AC8}"/>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object 3">
            <a:extLst>
              <a:ext uri="{FF2B5EF4-FFF2-40B4-BE49-F238E27FC236}">
                <a16:creationId xmlns:a16="http://schemas.microsoft.com/office/drawing/2014/main" id="{08321986-B0F2-CAF0-8DA8-3C3785466D4C}"/>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11" name="object 4">
            <a:extLst>
              <a:ext uri="{FF2B5EF4-FFF2-40B4-BE49-F238E27FC236}">
                <a16:creationId xmlns:a16="http://schemas.microsoft.com/office/drawing/2014/main" id="{4094AEAC-94BE-59D2-C4C0-F7B0EAFCA59C}"/>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2" name="タイトル 4">
            <a:extLst>
              <a:ext uri="{FF2B5EF4-FFF2-40B4-BE49-F238E27FC236}">
                <a16:creationId xmlns:a16="http://schemas.microsoft.com/office/drawing/2014/main" id="{43E8DDDD-185C-8D35-8446-E89B4AD64AB4}"/>
              </a:ext>
            </a:extLst>
          </p:cNvPr>
          <p:cNvSpPr>
            <a:spLocks noGrp="1"/>
          </p:cNvSpPr>
          <p:nvPr>
            <p:ph type="title"/>
          </p:nvPr>
        </p:nvSpPr>
        <p:spPr>
          <a:xfrm>
            <a:off x="1169488" y="2500011"/>
            <a:ext cx="4316912" cy="361637"/>
          </a:xfrm>
        </p:spPr>
        <p:txBody>
          <a:bodyPr>
            <a:noAutofit/>
          </a:bodyPr>
          <a:lstStyle>
            <a:lvl1pPr algn="ctr">
              <a:defRPr sz="2800" b="1" i="0">
                <a:solidFill>
                  <a:schemeClr val="tx1"/>
                </a:solidFill>
                <a:latin typeface="Yu Gothic" panose="020B0400000000000000" pitchFamily="34" charset="-128"/>
                <a:ea typeface="Yu Gothic" panose="020B0400000000000000" pitchFamily="34" charset="-128"/>
                <a:cs typeface="Arial" panose="020B0604020202020204" pitchFamily="34" charset="0"/>
              </a:defRPr>
            </a:lvl1pPr>
          </a:lstStyle>
          <a:p>
            <a:endParaRPr kumimoji="1" lang="ja-JP" altLang="en-US"/>
          </a:p>
        </p:txBody>
      </p:sp>
      <p:sp>
        <p:nvSpPr>
          <p:cNvPr id="13" name="テキスト プレースホルダー 22">
            <a:extLst>
              <a:ext uri="{FF2B5EF4-FFF2-40B4-BE49-F238E27FC236}">
                <a16:creationId xmlns:a16="http://schemas.microsoft.com/office/drawing/2014/main" id="{53B6E0EF-88A0-5373-4FA1-F8A2A149F742}"/>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Yu Gothic Medium" panose="020B0400000000000000" pitchFamily="34" charset="-128"/>
                <a:ea typeface="Yu Gothic Medium" panose="020B0400000000000000" pitchFamily="34" charset="-128"/>
              </a:defRPr>
            </a:lvl1pPr>
          </a:lstStyle>
          <a:p>
            <a:pPr lvl="0"/>
            <a:r>
              <a:rPr kumimoji="1" lang="ja-JP" altLang="en-US"/>
              <a:t>サブタイトル</a:t>
            </a:r>
          </a:p>
        </p:txBody>
      </p:sp>
      <p:sp>
        <p:nvSpPr>
          <p:cNvPr id="14" name="object 12">
            <a:extLst>
              <a:ext uri="{FF2B5EF4-FFF2-40B4-BE49-F238E27FC236}">
                <a16:creationId xmlns:a16="http://schemas.microsoft.com/office/drawing/2014/main" id="{940DBB74-7D85-5848-24BB-D8AD483FE4DF}"/>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5" name="object 13">
            <a:extLst>
              <a:ext uri="{FF2B5EF4-FFF2-40B4-BE49-F238E27FC236}">
                <a16:creationId xmlns:a16="http://schemas.microsoft.com/office/drawing/2014/main" id="{84B76BE8-FF9A-A21A-CC32-B674DFBFB0A0}"/>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6" name="テキスト プレースホルダー 17">
            <a:extLst>
              <a:ext uri="{FF2B5EF4-FFF2-40B4-BE49-F238E27FC236}">
                <a16:creationId xmlns:a16="http://schemas.microsoft.com/office/drawing/2014/main" id="{F5269317-7FFF-D43F-6B56-74DBA27C475A}"/>
              </a:ext>
            </a:extLst>
          </p:cNvPr>
          <p:cNvSpPr>
            <a:spLocks noGrp="1"/>
          </p:cNvSpPr>
          <p:nvPr>
            <p:ph type="body" sz="quarter" idx="13"/>
          </p:nvPr>
        </p:nvSpPr>
        <p:spPr>
          <a:xfrm>
            <a:off x="1169488" y="1553983"/>
            <a:ext cx="4316911" cy="279049"/>
          </a:xfrm>
        </p:spPr>
        <p:txBody>
          <a:bodyPr anchor="ctr" anchorCtr="0">
            <a:noAutofit/>
          </a:bodyPr>
          <a:lstStyle>
            <a:lvl1pPr algn="ctr">
              <a:defRPr sz="1800">
                <a:solidFill>
                  <a:schemeClr val="tx2"/>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7" name="テキスト プレースホルダー 17">
            <a:extLst>
              <a:ext uri="{FF2B5EF4-FFF2-40B4-BE49-F238E27FC236}">
                <a16:creationId xmlns:a16="http://schemas.microsoft.com/office/drawing/2014/main" id="{869145FC-15D3-07DD-F7BC-C8023E1C08AF}"/>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a:t>
            </a:r>
            <a:r>
              <a:rPr kumimoji="1" lang="ja-JP" altLang="en-US"/>
              <a:t>年</a:t>
            </a:r>
            <a:r>
              <a:rPr kumimoji="1" lang="en-US" altLang="ja-JP"/>
              <a:t>X</a:t>
            </a:r>
            <a:r>
              <a:rPr kumimoji="1" lang="ja-JP" altLang="en-US"/>
              <a:t>月</a:t>
            </a:r>
          </a:p>
        </p:txBody>
      </p:sp>
      <p:pic>
        <p:nvPicPr>
          <p:cNvPr id="2" name="図 1" descr="ロゴ&#10;&#10;自動的に生成された説明">
            <a:extLst>
              <a:ext uri="{FF2B5EF4-FFF2-40B4-BE49-F238E27FC236}">
                <a16:creationId xmlns:a16="http://schemas.microsoft.com/office/drawing/2014/main" id="{AAF6F365-9DA1-5556-986E-27916633AE9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886419" y="4470537"/>
            <a:ext cx="880182" cy="579160"/>
          </a:xfrm>
          <a:prstGeom prst="rect">
            <a:avLst/>
          </a:prstGeom>
        </p:spPr>
      </p:pic>
      <p:sp>
        <p:nvSpPr>
          <p:cNvPr id="18" name="スライド番号プレースホルダー 24">
            <a:extLst>
              <a:ext uri="{FF2B5EF4-FFF2-40B4-BE49-F238E27FC236}">
                <a16:creationId xmlns:a16="http://schemas.microsoft.com/office/drawing/2014/main" id="{F38B10A9-FA31-4B17-8B86-FDB52707D71C}"/>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8364824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
        <p:nvSpPr>
          <p:cNvPr id="7" name="テキスト プレースホルダー 23">
            <a:extLst>
              <a:ext uri="{FF2B5EF4-FFF2-40B4-BE49-F238E27FC236}">
                <a16:creationId xmlns:a16="http://schemas.microsoft.com/office/drawing/2014/main" id="{7CA73F3A-B4C6-B201-9FA1-F97E675551C3}"/>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252442801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2" name="図 1">
            <a:extLst>
              <a:ext uri="{FF2B5EF4-FFF2-40B4-BE49-F238E27FC236}">
                <a16:creationId xmlns:a16="http://schemas.microsoft.com/office/drawing/2014/main" id="{106F3F56-A881-A82C-BF83-0D97E885A606}"/>
              </a:ext>
            </a:extLst>
          </p:cNvPr>
          <p:cNvPicPr>
            <a:picLocks noChangeAspect="1"/>
          </p:cNvPicPr>
          <p:nvPr userDrawn="1"/>
        </p:nvPicPr>
        <p:blipFill>
          <a:blip r:embed="rId2"/>
          <a:stretch>
            <a:fillRect/>
          </a:stretch>
        </p:blipFill>
        <p:spPr>
          <a:xfrm>
            <a:off x="-12300" y="2099"/>
            <a:ext cx="876300" cy="876300"/>
          </a:xfrm>
          <a:prstGeom prst="rect">
            <a:avLst/>
          </a:prstGeom>
        </p:spPr>
      </p:pic>
      <p:sp>
        <p:nvSpPr>
          <p:cNvPr id="3" name="テキスト プレースホルダー 23">
            <a:extLst>
              <a:ext uri="{FF2B5EF4-FFF2-40B4-BE49-F238E27FC236}">
                <a16:creationId xmlns:a16="http://schemas.microsoft.com/office/drawing/2014/main" id="{8DDE5366-03EE-5B59-BAB0-F0E5131329CF}"/>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10950769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3" name="図 2">
            <a:extLst>
              <a:ext uri="{FF2B5EF4-FFF2-40B4-BE49-F238E27FC236}">
                <a16:creationId xmlns:a16="http://schemas.microsoft.com/office/drawing/2014/main" id="{A5C35359-2759-4B05-91D0-C6B94BEDAFDD}"/>
              </a:ext>
            </a:extLst>
          </p:cNvPr>
          <p:cNvPicPr>
            <a:picLocks noChangeAspect="1"/>
          </p:cNvPicPr>
          <p:nvPr userDrawn="1"/>
        </p:nvPicPr>
        <p:blipFill>
          <a:blip r:embed="rId2"/>
          <a:stretch>
            <a:fillRect/>
          </a:stretch>
        </p:blipFill>
        <p:spPr>
          <a:xfrm>
            <a:off x="0" y="499"/>
            <a:ext cx="877900" cy="877900"/>
          </a:xfrm>
          <a:prstGeom prst="rect">
            <a:avLst/>
          </a:prstGeom>
        </p:spPr>
      </p:pic>
    </p:spTree>
    <p:extLst>
      <p:ext uri="{BB962C8B-B14F-4D97-AF65-F5344CB8AC3E}">
        <p14:creationId xmlns:p14="http://schemas.microsoft.com/office/powerpoint/2010/main" val="2013933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3" name="図 2">
            <a:extLst>
              <a:ext uri="{FF2B5EF4-FFF2-40B4-BE49-F238E27FC236}">
                <a16:creationId xmlns:a16="http://schemas.microsoft.com/office/drawing/2014/main" id="{0E0D206B-851D-4D00-A52F-28D32548C517}"/>
              </a:ext>
            </a:extLst>
          </p:cNvPr>
          <p:cNvPicPr>
            <a:picLocks noChangeAspect="1"/>
          </p:cNvPicPr>
          <p:nvPr userDrawn="1"/>
        </p:nvPicPr>
        <p:blipFill>
          <a:blip r:embed="rId2"/>
          <a:stretch>
            <a:fillRect/>
          </a:stretch>
        </p:blipFill>
        <p:spPr>
          <a:xfrm>
            <a:off x="0" y="0"/>
            <a:ext cx="877900" cy="877900"/>
          </a:xfrm>
          <a:prstGeom prst="rect">
            <a:avLst/>
          </a:prstGeom>
        </p:spPr>
      </p:pic>
    </p:spTree>
    <p:extLst>
      <p:ext uri="{BB962C8B-B14F-4D97-AF65-F5344CB8AC3E}">
        <p14:creationId xmlns:p14="http://schemas.microsoft.com/office/powerpoint/2010/main" val="4733179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1724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環境-本文">
    <p:spTree>
      <p:nvGrpSpPr>
        <p:cNvPr id="1" name=""/>
        <p:cNvGrpSpPr/>
        <p:nvPr/>
      </p:nvGrpSpPr>
      <p:grpSpPr>
        <a:xfrm>
          <a:off x="0" y="0"/>
          <a:ext cx="0" cy="0"/>
          <a:chOff x="0" y="0"/>
          <a:chExt cx="0" cy="0"/>
        </a:xfrm>
      </p:grpSpPr>
      <p:sp>
        <p:nvSpPr>
          <p:cNvPr id="5" name="スライド番号プレースホルダー 4">
            <a:extLst>
              <a:ext uri="{FF2B5EF4-FFF2-40B4-BE49-F238E27FC236}">
                <a16:creationId xmlns:a16="http://schemas.microsoft.com/office/drawing/2014/main" id="{AE89808D-7571-94C1-05CE-F53BF713BB2E}"/>
              </a:ext>
            </a:extLst>
          </p:cNvPr>
          <p:cNvSpPr>
            <a:spLocks noGrp="1"/>
          </p:cNvSpPr>
          <p:nvPr>
            <p:ph type="sldNum" sz="quarter" idx="12"/>
          </p:nvPr>
        </p:nvSpPr>
        <p:spPr>
          <a:xfrm>
            <a:off x="9158197" y="6560001"/>
            <a:ext cx="2804160" cy="123111"/>
          </a:xfrm>
        </p:spPr>
        <p:txBody>
          <a:bodyPr/>
          <a:lstStyle>
            <a:lvl1pPr>
              <a:defRPr sz="8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pic>
        <p:nvPicPr>
          <p:cNvPr id="2" name="object 3">
            <a:extLst>
              <a:ext uri="{FF2B5EF4-FFF2-40B4-BE49-F238E27FC236}">
                <a16:creationId xmlns:a16="http://schemas.microsoft.com/office/drawing/2014/main" id="{F704B579-EB11-73A7-8A72-708317980408}"/>
              </a:ext>
            </a:extLst>
          </p:cNvPr>
          <p:cNvPicPr/>
          <p:nvPr userDrawn="1"/>
        </p:nvPicPr>
        <p:blipFill>
          <a:blip r:embed="rId2" cstate="print"/>
          <a:stretch>
            <a:fillRect/>
          </a:stretch>
        </p:blipFill>
        <p:spPr>
          <a:xfrm>
            <a:off x="0" y="6386004"/>
            <a:ext cx="12192000" cy="471995"/>
          </a:xfrm>
          <a:prstGeom prst="rect">
            <a:avLst/>
          </a:prstGeom>
        </p:spPr>
      </p:pic>
      <p:grpSp>
        <p:nvGrpSpPr>
          <p:cNvPr id="4" name="グループ化 3">
            <a:extLst>
              <a:ext uri="{FF2B5EF4-FFF2-40B4-BE49-F238E27FC236}">
                <a16:creationId xmlns:a16="http://schemas.microsoft.com/office/drawing/2014/main" id="{F45AF8F2-2209-C868-F7FA-F17A6F56F980}"/>
              </a:ext>
            </a:extLst>
          </p:cNvPr>
          <p:cNvGrpSpPr/>
          <p:nvPr userDrawn="1"/>
        </p:nvGrpSpPr>
        <p:grpSpPr>
          <a:xfrm>
            <a:off x="317500" y="6521700"/>
            <a:ext cx="3237782" cy="190734"/>
            <a:chOff x="317500" y="6521700"/>
            <a:chExt cx="3237782" cy="190734"/>
          </a:xfrm>
        </p:grpSpPr>
        <p:pic>
          <p:nvPicPr>
            <p:cNvPr id="15" name="図 14" descr="アイコン&#10;&#10;自動的に生成された説明">
              <a:extLst>
                <a:ext uri="{FF2B5EF4-FFF2-40B4-BE49-F238E27FC236}">
                  <a16:creationId xmlns:a16="http://schemas.microsoft.com/office/drawing/2014/main" id="{E04FA5DA-5C10-7444-B46C-68EE388CFB8E}"/>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16" name="テキスト ボックス 15">
              <a:extLst>
                <a:ext uri="{FF2B5EF4-FFF2-40B4-BE49-F238E27FC236}">
                  <a16:creationId xmlns:a16="http://schemas.microsoft.com/office/drawing/2014/main" id="{86C37E4C-8984-B00E-0DC2-B4B1779C578B}"/>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7" name="テキスト ボックス 16">
              <a:extLst>
                <a:ext uri="{FF2B5EF4-FFF2-40B4-BE49-F238E27FC236}">
                  <a16:creationId xmlns:a16="http://schemas.microsoft.com/office/drawing/2014/main" id="{F0A3FC6C-4A47-4B4C-1ACD-4EE4475C50B8}"/>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pic>
        <p:nvPicPr>
          <p:cNvPr id="6" name="object 2">
            <a:extLst>
              <a:ext uri="{FF2B5EF4-FFF2-40B4-BE49-F238E27FC236}">
                <a16:creationId xmlns:a16="http://schemas.microsoft.com/office/drawing/2014/main" id="{C3060FD8-050D-C325-3496-42BE68077429}"/>
              </a:ext>
            </a:extLst>
          </p:cNvPr>
          <p:cNvPicPr/>
          <p:nvPr userDrawn="1"/>
        </p:nvPicPr>
        <p:blipFill>
          <a:blip r:embed="rId4" cstate="print"/>
          <a:stretch>
            <a:fillRect/>
          </a:stretch>
        </p:blipFill>
        <p:spPr>
          <a:xfrm>
            <a:off x="0" y="0"/>
            <a:ext cx="878395" cy="878395"/>
          </a:xfrm>
          <a:prstGeom prst="rect">
            <a:avLst/>
          </a:prstGeom>
        </p:spPr>
      </p:pic>
      <p:sp>
        <p:nvSpPr>
          <p:cNvPr id="7" name="object 3">
            <a:extLst>
              <a:ext uri="{FF2B5EF4-FFF2-40B4-BE49-F238E27FC236}">
                <a16:creationId xmlns:a16="http://schemas.microsoft.com/office/drawing/2014/main" id="{A4DA333C-DC4C-6654-7D9E-32A9D44205BD}"/>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7F7F7F"/>
            </a:solidFill>
          </a:ln>
        </p:spPr>
        <p:txBody>
          <a:bodyPr wrap="square" lIns="0" tIns="0" rIns="0" bIns="0" rtlCol="0"/>
          <a:lstStyle/>
          <a:p>
            <a:endParaRPr/>
          </a:p>
        </p:txBody>
      </p:sp>
      <p:sp>
        <p:nvSpPr>
          <p:cNvPr id="8" name="スライド番号プレースホルダー 4">
            <a:extLst>
              <a:ext uri="{FF2B5EF4-FFF2-40B4-BE49-F238E27FC236}">
                <a16:creationId xmlns:a16="http://schemas.microsoft.com/office/drawing/2014/main" id="{C7B494B2-5AAD-532B-589C-629136B16585}"/>
              </a:ext>
            </a:extLst>
          </p:cNvPr>
          <p:cNvSpPr txBox="1">
            <a:spLocks/>
          </p:cNvSpPr>
          <p:nvPr userDrawn="1"/>
        </p:nvSpPr>
        <p:spPr>
          <a:xfrm>
            <a:off x="9144000" y="6540123"/>
            <a:ext cx="2804160" cy="153888"/>
          </a:xfrm>
          <a:prstGeom prst="rect">
            <a:avLst/>
          </a:prstGeom>
        </p:spPr>
        <p:txBody>
          <a:bodyPr vert="horz" lIns="91440" tIns="45720" rIns="91440" bIns="45720" rtlCol="0" anchor="ctr"/>
          <a:lstStyle>
            <a:defPPr>
              <a:defRPr kern="0"/>
            </a:defPPr>
            <a:lvl1pPr algn="r">
              <a:defRPr sz="10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Tree>
    <p:extLst>
      <p:ext uri="{BB962C8B-B14F-4D97-AF65-F5344CB8AC3E}">
        <p14:creationId xmlns:p14="http://schemas.microsoft.com/office/powerpoint/2010/main" val="10123448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__1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6641341" cy="323165"/>
          </a:xfrm>
        </p:spPr>
        <p:txBody>
          <a:bodyPr/>
          <a:lstStyle>
            <a:lvl1pPr>
              <a:defRPr sz="2100" b="1" i="0" spc="0">
                <a:solidFill>
                  <a:schemeClr val="tx2"/>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2" name="object 4">
            <a:extLst>
              <a:ext uri="{FF2B5EF4-FFF2-40B4-BE49-F238E27FC236}">
                <a16:creationId xmlns:a16="http://schemas.microsoft.com/office/drawing/2014/main" id="{F584A047-7FDF-FF74-8AEC-9CFA6DA2A960}"/>
              </a:ext>
            </a:extLst>
          </p:cNvPr>
          <p:cNvSpPr txBox="1">
            <a:spLocks/>
          </p:cNvSpPr>
          <p:nvPr userDrawn="1"/>
        </p:nvSpPr>
        <p:spPr>
          <a:xfrm>
            <a:off x="0" y="10800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algn="ctr">
              <a:spcBef>
                <a:spcPts val="100"/>
              </a:spcBef>
            </a:pPr>
            <a:r>
              <a:rPr lang="en-US" altLang="ja-JP" sz="4500">
                <a:solidFill>
                  <a:schemeClr val="tx2"/>
                </a:solidFill>
                <a:latin typeface="Yu Gothic Light" panose="020B0300000000000000" pitchFamily="34" charset="-128"/>
                <a:ea typeface="Yu Gothic Light" panose="020B0300000000000000" pitchFamily="34" charset="-128"/>
              </a:rPr>
              <a:t>1</a:t>
            </a:r>
          </a:p>
        </p:txBody>
      </p:sp>
      <p:pic>
        <p:nvPicPr>
          <p:cNvPr id="32" name="図 31">
            <a:extLst>
              <a:ext uri="{FF2B5EF4-FFF2-40B4-BE49-F238E27FC236}">
                <a16:creationId xmlns:a16="http://schemas.microsoft.com/office/drawing/2014/main" id="{033FEAD7-8745-68C2-976B-AE2AECC348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9" y="307342"/>
            <a:ext cx="4305300" cy="254000"/>
          </a:xfrm>
          <a:prstGeom prst="rect">
            <a:avLst/>
          </a:prstGeom>
        </p:spPr>
      </p:pic>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6641341" cy="296876"/>
          </a:xfrm>
        </p:spPr>
        <p:txBody>
          <a:bodyPr/>
          <a:lstStyle>
            <a:lvl1pPr>
              <a:spcAft>
                <a:spcPts val="500"/>
              </a:spcAft>
              <a:defRPr sz="1600" b="0" i="0">
                <a:solidFill>
                  <a:schemeClr val="tx2"/>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spTree>
    <p:extLst>
      <p:ext uri="{BB962C8B-B14F-4D97-AF65-F5344CB8AC3E}">
        <p14:creationId xmlns:p14="http://schemas.microsoft.com/office/powerpoint/2010/main" val="4329478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表紙">
    <p:spTree>
      <p:nvGrpSpPr>
        <p:cNvPr id="1" name=""/>
        <p:cNvGrpSpPr/>
        <p:nvPr/>
      </p:nvGrpSpPr>
      <p:grpSpPr>
        <a:xfrm>
          <a:off x="0" y="0"/>
          <a:ext cx="0" cy="0"/>
          <a:chOff x="0" y="0"/>
          <a:chExt cx="0" cy="0"/>
        </a:xfrm>
      </p:grpSpPr>
      <p:pic>
        <p:nvPicPr>
          <p:cNvPr id="6" name="object 3">
            <a:extLst>
              <a:ext uri="{FF2B5EF4-FFF2-40B4-BE49-F238E27FC236}">
                <a16:creationId xmlns:a16="http://schemas.microsoft.com/office/drawing/2014/main" id="{6E195C7E-1FE0-3DA3-6405-40BB48E1AECD}"/>
              </a:ext>
            </a:extLst>
          </p:cNvPr>
          <p:cNvPicPr/>
          <p:nvPr userDrawn="1"/>
        </p:nvPicPr>
        <p:blipFill>
          <a:blip r:embed="rId2" cstate="print"/>
          <a:stretch>
            <a:fillRect/>
          </a:stretch>
        </p:blipFill>
        <p:spPr>
          <a:xfrm>
            <a:off x="0" y="6386004"/>
            <a:ext cx="12192000" cy="471995"/>
          </a:xfrm>
          <a:prstGeom prst="rect">
            <a:avLst/>
          </a:prstGeom>
        </p:spPr>
      </p:pic>
      <p:grpSp>
        <p:nvGrpSpPr>
          <p:cNvPr id="7" name="グループ化 6">
            <a:extLst>
              <a:ext uri="{FF2B5EF4-FFF2-40B4-BE49-F238E27FC236}">
                <a16:creationId xmlns:a16="http://schemas.microsoft.com/office/drawing/2014/main" id="{86878B32-67CF-1669-EC8C-A22BA357C724}"/>
              </a:ext>
            </a:extLst>
          </p:cNvPr>
          <p:cNvGrpSpPr/>
          <p:nvPr userDrawn="1"/>
        </p:nvGrpSpPr>
        <p:grpSpPr>
          <a:xfrm>
            <a:off x="317500" y="6521700"/>
            <a:ext cx="3237782" cy="190734"/>
            <a:chOff x="317500" y="6521700"/>
            <a:chExt cx="3237782" cy="190734"/>
          </a:xfrm>
        </p:grpSpPr>
        <p:pic>
          <p:nvPicPr>
            <p:cNvPr id="8" name="図 7" descr="アイコン&#10;&#10;自動的に生成された説明">
              <a:extLst>
                <a:ext uri="{FF2B5EF4-FFF2-40B4-BE49-F238E27FC236}">
                  <a16:creationId xmlns:a16="http://schemas.microsoft.com/office/drawing/2014/main" id="{27995656-589E-0552-2C53-031095590567}"/>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9" name="テキスト ボックス 8">
              <a:extLst>
                <a:ext uri="{FF2B5EF4-FFF2-40B4-BE49-F238E27FC236}">
                  <a16:creationId xmlns:a16="http://schemas.microsoft.com/office/drawing/2014/main" id="{13DB44BA-8840-202F-11FE-F9A1396B3F4F}"/>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0" name="テキスト ボックス 9">
              <a:extLst>
                <a:ext uri="{FF2B5EF4-FFF2-40B4-BE49-F238E27FC236}">
                  <a16:creationId xmlns:a16="http://schemas.microsoft.com/office/drawing/2014/main" id="{6C1A95A5-8095-6FD9-7815-727CC8791D1A}"/>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sp>
        <p:nvSpPr>
          <p:cNvPr id="12" name="object 4">
            <a:extLst>
              <a:ext uri="{FF2B5EF4-FFF2-40B4-BE49-F238E27FC236}">
                <a16:creationId xmlns:a16="http://schemas.microsoft.com/office/drawing/2014/main" id="{F752818C-1434-CCC2-110B-510F22D27375}"/>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nvGrpSpPr>
          <p:cNvPr id="14" name="object 2">
            <a:extLst>
              <a:ext uri="{FF2B5EF4-FFF2-40B4-BE49-F238E27FC236}">
                <a16:creationId xmlns:a16="http://schemas.microsoft.com/office/drawing/2014/main" id="{40B7FA48-E8C1-5779-19A1-ADF80DD8647F}"/>
              </a:ext>
            </a:extLst>
          </p:cNvPr>
          <p:cNvGrpSpPr/>
          <p:nvPr userDrawn="1"/>
        </p:nvGrpSpPr>
        <p:grpSpPr>
          <a:xfrm>
            <a:off x="0" y="945388"/>
            <a:ext cx="5842000" cy="4495800"/>
            <a:chOff x="0" y="945388"/>
            <a:chExt cx="5842000" cy="4495800"/>
          </a:xfrm>
        </p:grpSpPr>
        <p:sp>
          <p:nvSpPr>
            <p:cNvPr id="15" name="object 3">
              <a:extLst>
                <a:ext uri="{FF2B5EF4-FFF2-40B4-BE49-F238E27FC236}">
                  <a16:creationId xmlns:a16="http://schemas.microsoft.com/office/drawing/2014/main" id="{D52D470E-6218-D36E-CF39-CCA958E45F2F}"/>
                </a:ext>
              </a:extLst>
            </p:cNvPr>
            <p:cNvSpPr/>
            <p:nvPr/>
          </p:nvSpPr>
          <p:spPr>
            <a:xfrm>
              <a:off x="0" y="945388"/>
              <a:ext cx="5842000" cy="4495800"/>
            </a:xfrm>
            <a:custGeom>
              <a:avLst/>
              <a:gdLst/>
              <a:ahLst/>
              <a:cxnLst/>
              <a:rect l="l" t="t" r="r" b="b"/>
              <a:pathLst>
                <a:path w="5842000" h="4495800">
                  <a:moveTo>
                    <a:pt x="5842000" y="0"/>
                  </a:moveTo>
                  <a:lnTo>
                    <a:pt x="0" y="0"/>
                  </a:lnTo>
                  <a:lnTo>
                    <a:pt x="0" y="4495228"/>
                  </a:lnTo>
                  <a:lnTo>
                    <a:pt x="5842000" y="4495228"/>
                  </a:lnTo>
                  <a:lnTo>
                    <a:pt x="5842000" y="0"/>
                  </a:lnTo>
                  <a:close/>
                </a:path>
              </a:pathLst>
            </a:custGeom>
            <a:solidFill>
              <a:srgbClr val="009FDC"/>
            </a:solidFill>
          </p:spPr>
          <p:txBody>
            <a:bodyPr wrap="square" lIns="0" tIns="0" rIns="0" bIns="0" rtlCol="0"/>
            <a:lstStyle/>
            <a:p>
              <a:endParaRPr/>
            </a:p>
          </p:txBody>
        </p:sp>
        <p:sp>
          <p:nvSpPr>
            <p:cNvPr id="16" name="object 4">
              <a:extLst>
                <a:ext uri="{FF2B5EF4-FFF2-40B4-BE49-F238E27FC236}">
                  <a16:creationId xmlns:a16="http://schemas.microsoft.com/office/drawing/2014/main" id="{C35112EE-5F1E-FC31-2E15-2A002499C87E}"/>
                </a:ext>
              </a:extLst>
            </p:cNvPr>
            <p:cNvSpPr/>
            <p:nvPr/>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rgbClr val="005295"/>
            </a:solidFill>
          </p:spPr>
          <p:txBody>
            <a:bodyPr wrap="square" lIns="0" tIns="0" rIns="0" bIns="0" rtlCol="0"/>
            <a:lstStyle/>
            <a:p>
              <a:endParaRPr/>
            </a:p>
          </p:txBody>
        </p:sp>
      </p:grpSp>
    </p:spTree>
    <p:extLst>
      <p:ext uri="{BB962C8B-B14F-4D97-AF65-F5344CB8AC3E}">
        <p14:creationId xmlns:p14="http://schemas.microsoft.com/office/powerpoint/2010/main" val="99892843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本文">
    <p:spTree>
      <p:nvGrpSpPr>
        <p:cNvPr id="1" name=""/>
        <p:cNvGrpSpPr/>
        <p:nvPr/>
      </p:nvGrpSpPr>
      <p:grpSpPr>
        <a:xfrm>
          <a:off x="0" y="0"/>
          <a:ext cx="0" cy="0"/>
          <a:chOff x="0" y="0"/>
          <a:chExt cx="0" cy="0"/>
        </a:xfrm>
      </p:grpSpPr>
      <p:sp>
        <p:nvSpPr>
          <p:cNvPr id="2" name="スライド番号プレースホルダー 4">
            <a:extLst>
              <a:ext uri="{FF2B5EF4-FFF2-40B4-BE49-F238E27FC236}">
                <a16:creationId xmlns:a16="http://schemas.microsoft.com/office/drawing/2014/main" id="{6A44B7E0-A637-CD9A-4CFB-6CB232226B6D}"/>
              </a:ext>
            </a:extLst>
          </p:cNvPr>
          <p:cNvSpPr>
            <a:spLocks noGrp="1"/>
          </p:cNvSpPr>
          <p:nvPr>
            <p:ph type="sldNum" sz="quarter" idx="12"/>
          </p:nvPr>
        </p:nvSpPr>
        <p:spPr>
          <a:xfrm>
            <a:off x="9158197" y="6560001"/>
            <a:ext cx="2804160" cy="123111"/>
          </a:xfrm>
        </p:spPr>
        <p:txBody>
          <a:bodyPr/>
          <a:lstStyle>
            <a:lvl1pPr>
              <a:defRPr sz="8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
        <p:nvSpPr>
          <p:cNvPr id="3" name="object 111">
            <a:extLst>
              <a:ext uri="{FF2B5EF4-FFF2-40B4-BE49-F238E27FC236}">
                <a16:creationId xmlns:a16="http://schemas.microsoft.com/office/drawing/2014/main" id="{1DCF0C6D-D8AC-4266-F6E7-38D9121E62D2}"/>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rgbClr val="005295"/>
            </a:solidFill>
          </a:ln>
        </p:spPr>
        <p:txBody>
          <a:bodyPr wrap="square" lIns="0" tIns="0" rIns="0" bIns="0" rtlCol="0"/>
          <a:lstStyle/>
          <a:p>
            <a:endParaRPr/>
          </a:p>
        </p:txBody>
      </p:sp>
      <p:pic>
        <p:nvPicPr>
          <p:cNvPr id="4" name="object 3">
            <a:extLst>
              <a:ext uri="{FF2B5EF4-FFF2-40B4-BE49-F238E27FC236}">
                <a16:creationId xmlns:a16="http://schemas.microsoft.com/office/drawing/2014/main" id="{9EE4E232-BA45-65B1-000E-3A9E44AB5C5C}"/>
              </a:ext>
            </a:extLst>
          </p:cNvPr>
          <p:cNvPicPr/>
          <p:nvPr userDrawn="1"/>
        </p:nvPicPr>
        <p:blipFill>
          <a:blip r:embed="rId2" cstate="print"/>
          <a:stretch>
            <a:fillRect/>
          </a:stretch>
        </p:blipFill>
        <p:spPr>
          <a:xfrm>
            <a:off x="0" y="6386004"/>
            <a:ext cx="12192000" cy="471995"/>
          </a:xfrm>
          <a:prstGeom prst="rect">
            <a:avLst/>
          </a:prstGeom>
        </p:spPr>
      </p:pic>
      <p:grpSp>
        <p:nvGrpSpPr>
          <p:cNvPr id="5" name="グループ化 4">
            <a:extLst>
              <a:ext uri="{FF2B5EF4-FFF2-40B4-BE49-F238E27FC236}">
                <a16:creationId xmlns:a16="http://schemas.microsoft.com/office/drawing/2014/main" id="{84B17807-877F-99B2-09AC-FD3B390923EE}"/>
              </a:ext>
            </a:extLst>
          </p:cNvPr>
          <p:cNvGrpSpPr/>
          <p:nvPr userDrawn="1"/>
        </p:nvGrpSpPr>
        <p:grpSpPr>
          <a:xfrm>
            <a:off x="317500" y="6521700"/>
            <a:ext cx="3237782" cy="190734"/>
            <a:chOff x="317500" y="6521700"/>
            <a:chExt cx="3237782" cy="190734"/>
          </a:xfrm>
        </p:grpSpPr>
        <p:pic>
          <p:nvPicPr>
            <p:cNvPr id="13" name="図 12" descr="アイコン&#10;&#10;自動的に生成された説明">
              <a:extLst>
                <a:ext uri="{FF2B5EF4-FFF2-40B4-BE49-F238E27FC236}">
                  <a16:creationId xmlns:a16="http://schemas.microsoft.com/office/drawing/2014/main" id="{C3AF8573-0150-EBAE-8E25-B9CB34181A4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17500" y="6521700"/>
              <a:ext cx="1029665" cy="190734"/>
            </a:xfrm>
            <a:prstGeom prst="rect">
              <a:avLst/>
            </a:prstGeom>
          </p:spPr>
        </p:pic>
        <p:sp>
          <p:nvSpPr>
            <p:cNvPr id="14" name="テキスト ボックス 13">
              <a:extLst>
                <a:ext uri="{FF2B5EF4-FFF2-40B4-BE49-F238E27FC236}">
                  <a16:creationId xmlns:a16="http://schemas.microsoft.com/office/drawing/2014/main" id="{FFB808CE-CB03-7DF1-8D58-F2558241CFFF}"/>
                </a:ext>
              </a:extLst>
            </p:cNvPr>
            <p:cNvSpPr txBox="1"/>
            <p:nvPr userDrawn="1"/>
          </p:nvSpPr>
          <p:spPr>
            <a:xfrm>
              <a:off x="1371600" y="6527768"/>
              <a:ext cx="1450718" cy="184666"/>
            </a:xfrm>
            <a:prstGeom prst="rect">
              <a:avLst/>
            </a:prstGeom>
            <a:noFill/>
          </p:spPr>
          <p:txBody>
            <a:bodyPr wrap="none" rtlCol="0">
              <a:spAutoFit/>
            </a:bodyPr>
            <a:lstStyle/>
            <a:p>
              <a:pPr algn="l"/>
              <a:r>
                <a:rPr lang="en" altLang="ja-JP" sz="600" b="0" i="0" spc="30" baseline="0">
                  <a:solidFill>
                    <a:srgbClr val="FFFFFF"/>
                  </a:solidFill>
                  <a:effectLst/>
                  <a:latin typeface="Yu Gothic" panose="020B0400000000000000" pitchFamily="34" charset="-128"/>
                  <a:ea typeface="Yu Gothic" panose="020B0400000000000000" pitchFamily="34" charset="-128"/>
                </a:rPr>
                <a:t>© 2023 Mitsui O.S.K. Lines, Ltd.</a:t>
              </a:r>
              <a:endParaRPr kumimoji="1" lang="ja-JP" altLang="en-US" sz="600" b="0" i="0" spc="30" baseline="0">
                <a:latin typeface="Yu Gothic" panose="020B0400000000000000" pitchFamily="34" charset="-128"/>
                <a:ea typeface="Yu Gothic" panose="020B0400000000000000" pitchFamily="34" charset="-128"/>
              </a:endParaRPr>
            </a:p>
          </p:txBody>
        </p:sp>
        <p:sp>
          <p:nvSpPr>
            <p:cNvPr id="15" name="テキスト ボックス 14">
              <a:extLst>
                <a:ext uri="{FF2B5EF4-FFF2-40B4-BE49-F238E27FC236}">
                  <a16:creationId xmlns:a16="http://schemas.microsoft.com/office/drawing/2014/main" id="{8C123E49-48F6-3F28-CAB0-1FA5EB435483}"/>
                </a:ext>
              </a:extLst>
            </p:cNvPr>
            <p:cNvSpPr txBox="1"/>
            <p:nvPr userDrawn="1"/>
          </p:nvSpPr>
          <p:spPr>
            <a:xfrm>
              <a:off x="2743200" y="6527768"/>
              <a:ext cx="812082" cy="184666"/>
            </a:xfrm>
            <a:prstGeom prst="rect">
              <a:avLst/>
            </a:prstGeom>
            <a:noFill/>
          </p:spPr>
          <p:txBody>
            <a:bodyPr wrap="none" rtlCol="0">
              <a:spAutoFit/>
            </a:bodyPr>
            <a:lstStyle/>
            <a:p>
              <a:r>
                <a:rPr lang="en" altLang="ja-JP" sz="600" b="0" i="0" spc="40" baseline="0">
                  <a:solidFill>
                    <a:srgbClr val="FFFFFF"/>
                  </a:solidFill>
                  <a:effectLst/>
                  <a:latin typeface="Yu Gothic Medium" panose="020B0400000000000000" pitchFamily="34" charset="-128"/>
                  <a:ea typeface="Yu Gothic Medium" panose="020B0400000000000000" pitchFamily="34" charset="-128"/>
                </a:rPr>
                <a:t>CONFIDENTIAL</a:t>
              </a:r>
              <a:endParaRPr kumimoji="1" lang="ja-JP" altLang="en-US" sz="600" b="0" i="0" spc="40" baseline="0">
                <a:latin typeface="Yu Gothic Medium" panose="020B0400000000000000" pitchFamily="34" charset="-128"/>
                <a:ea typeface="Yu Gothic Medium" panose="020B0400000000000000" pitchFamily="34" charset="-128"/>
              </a:endParaRPr>
            </a:p>
          </p:txBody>
        </p:sp>
      </p:grpSp>
      <p:sp>
        <p:nvSpPr>
          <p:cNvPr id="16" name="スライド番号プレースホルダー 4">
            <a:extLst>
              <a:ext uri="{FF2B5EF4-FFF2-40B4-BE49-F238E27FC236}">
                <a16:creationId xmlns:a16="http://schemas.microsoft.com/office/drawing/2014/main" id="{A73F82D4-7860-CD84-62AD-C1DA60A4FF00}"/>
              </a:ext>
            </a:extLst>
          </p:cNvPr>
          <p:cNvSpPr txBox="1">
            <a:spLocks/>
          </p:cNvSpPr>
          <p:nvPr userDrawn="1"/>
        </p:nvSpPr>
        <p:spPr>
          <a:xfrm>
            <a:off x="9144000" y="6540123"/>
            <a:ext cx="2804160" cy="153888"/>
          </a:xfrm>
          <a:prstGeom prst="rect">
            <a:avLst/>
          </a:prstGeom>
        </p:spPr>
        <p:txBody>
          <a:bodyPr wrap="square" lIns="0" tIns="0" rIns="0" bIns="0">
            <a:spAutoFit/>
          </a:bodyPr>
          <a:lstStyle>
            <a:defPPr>
              <a:defRPr kern="0"/>
            </a:defPPr>
            <a:lvl1pPr algn="r">
              <a:defRPr sz="1000" b="0" i="0">
                <a:solidFill>
                  <a:schemeClr val="bg1"/>
                </a:solidFill>
                <a:latin typeface="Yu Gothic Medium" panose="020B0400000000000000" pitchFamily="34" charset="-128"/>
                <a:ea typeface="Yu Gothic Medium" panose="020B0400000000000000" pitchFamily="34" charset="-128"/>
              </a:defRPr>
            </a:lvl1pPr>
          </a:lstStyle>
          <a:p>
            <a:fld id="{B6F15528-21DE-4FAA-801E-634DDDAF4B2B}" type="slidenum">
              <a:rPr lang="en-US" altLang="ja-JP" smtClean="0"/>
              <a:pPr/>
              <a:t>‹#›</a:t>
            </a:fld>
            <a:endParaRPr lang="en-US" altLang="ja-JP"/>
          </a:p>
        </p:txBody>
      </p:sp>
    </p:spTree>
    <p:extLst>
      <p:ext uri="{BB962C8B-B14F-4D97-AF65-F5344CB8AC3E}">
        <p14:creationId xmlns:p14="http://schemas.microsoft.com/office/powerpoint/2010/main" val="24940674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D5872FB-3951-9C71-38D9-F95EAED20B9A}"/>
              </a:ext>
            </a:extLst>
          </p:cNvPr>
          <p:cNvGrpSpPr/>
          <p:nvPr userDrawn="1"/>
        </p:nvGrpSpPr>
        <p:grpSpPr>
          <a:xfrm>
            <a:off x="0" y="0"/>
            <a:ext cx="12192000" cy="6858367"/>
            <a:chOff x="0" y="0"/>
            <a:chExt cx="12192000" cy="6858367"/>
          </a:xfrm>
        </p:grpSpPr>
        <p:pic>
          <p:nvPicPr>
            <p:cNvPr id="3" name="図 2" descr="海に泳いでいる&#10;&#10;自動的に生成された説明">
              <a:extLst>
                <a:ext uri="{FF2B5EF4-FFF2-40B4-BE49-F238E27FC236}">
                  <a16:creationId xmlns:a16="http://schemas.microsoft.com/office/drawing/2014/main" id="{D9B0EA4F-C783-9247-58DA-5F17BC5CFB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73C7E1A5-FA5C-28A5-26B1-EB7814C40AC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object 3">
            <a:extLst>
              <a:ext uri="{FF2B5EF4-FFF2-40B4-BE49-F238E27FC236}">
                <a16:creationId xmlns:a16="http://schemas.microsoft.com/office/drawing/2014/main" id="{08321986-B0F2-CAF0-8DA8-3C3785466D4C}"/>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11" name="object 4">
            <a:extLst>
              <a:ext uri="{FF2B5EF4-FFF2-40B4-BE49-F238E27FC236}">
                <a16:creationId xmlns:a16="http://schemas.microsoft.com/office/drawing/2014/main" id="{4094AEAC-94BE-59D2-C4C0-F7B0EAFCA59C}"/>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2" name="タイトル 4">
            <a:extLst>
              <a:ext uri="{FF2B5EF4-FFF2-40B4-BE49-F238E27FC236}">
                <a16:creationId xmlns:a16="http://schemas.microsoft.com/office/drawing/2014/main" id="{43E8DDDD-185C-8D35-8446-E89B4AD64AB4}"/>
              </a:ext>
            </a:extLst>
          </p:cNvPr>
          <p:cNvSpPr>
            <a:spLocks noGrp="1"/>
          </p:cNvSpPr>
          <p:nvPr>
            <p:ph type="title"/>
          </p:nvPr>
        </p:nvSpPr>
        <p:spPr>
          <a:xfrm>
            <a:off x="1169488" y="2500011"/>
            <a:ext cx="4316912" cy="361637"/>
          </a:xfrm>
        </p:spPr>
        <p:txBody>
          <a:bodyPr>
            <a:noAutofit/>
          </a:bodyPr>
          <a:lstStyle>
            <a:lvl1pPr algn="ctr">
              <a:defRPr sz="2800" b="1" i="0">
                <a:solidFill>
                  <a:schemeClr val="tx1"/>
                </a:solidFill>
                <a:latin typeface="Yu Gothic" panose="020B0400000000000000" pitchFamily="34" charset="-128"/>
                <a:ea typeface="Yu Gothic" panose="020B0400000000000000" pitchFamily="34" charset="-128"/>
                <a:cs typeface="Arial" panose="020B0604020202020204" pitchFamily="34" charset="0"/>
              </a:defRPr>
            </a:lvl1pPr>
          </a:lstStyle>
          <a:p>
            <a:endParaRPr kumimoji="1" lang="ja-JP" altLang="en-US"/>
          </a:p>
        </p:txBody>
      </p:sp>
      <p:sp>
        <p:nvSpPr>
          <p:cNvPr id="13" name="テキスト プレースホルダー 22">
            <a:extLst>
              <a:ext uri="{FF2B5EF4-FFF2-40B4-BE49-F238E27FC236}">
                <a16:creationId xmlns:a16="http://schemas.microsoft.com/office/drawing/2014/main" id="{53B6E0EF-88A0-5373-4FA1-F8A2A149F742}"/>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Yu Gothic Medium" panose="020B0400000000000000" pitchFamily="34" charset="-128"/>
                <a:ea typeface="Yu Gothic Medium" panose="020B0400000000000000" pitchFamily="34" charset="-128"/>
              </a:defRPr>
            </a:lvl1pPr>
          </a:lstStyle>
          <a:p>
            <a:pPr lvl="0"/>
            <a:r>
              <a:rPr kumimoji="1" lang="ja-JP" altLang="en-US"/>
              <a:t>サブタイトル</a:t>
            </a:r>
          </a:p>
        </p:txBody>
      </p:sp>
      <p:sp>
        <p:nvSpPr>
          <p:cNvPr id="14" name="object 12">
            <a:extLst>
              <a:ext uri="{FF2B5EF4-FFF2-40B4-BE49-F238E27FC236}">
                <a16:creationId xmlns:a16="http://schemas.microsoft.com/office/drawing/2014/main" id="{940DBB74-7D85-5848-24BB-D8AD483FE4DF}"/>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5" name="object 13">
            <a:extLst>
              <a:ext uri="{FF2B5EF4-FFF2-40B4-BE49-F238E27FC236}">
                <a16:creationId xmlns:a16="http://schemas.microsoft.com/office/drawing/2014/main" id="{84B76BE8-FF9A-A21A-CC32-B674DFBFB0A0}"/>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6" name="テキスト プレースホルダー 17">
            <a:extLst>
              <a:ext uri="{FF2B5EF4-FFF2-40B4-BE49-F238E27FC236}">
                <a16:creationId xmlns:a16="http://schemas.microsoft.com/office/drawing/2014/main" id="{F5269317-7FFF-D43F-6B56-74DBA27C475A}"/>
              </a:ext>
            </a:extLst>
          </p:cNvPr>
          <p:cNvSpPr>
            <a:spLocks noGrp="1"/>
          </p:cNvSpPr>
          <p:nvPr>
            <p:ph type="body" sz="quarter" idx="13"/>
          </p:nvPr>
        </p:nvSpPr>
        <p:spPr>
          <a:xfrm>
            <a:off x="1169488" y="1553983"/>
            <a:ext cx="4316911" cy="279049"/>
          </a:xfrm>
        </p:spPr>
        <p:txBody>
          <a:bodyPr anchor="ctr" anchorCtr="0">
            <a:noAutofit/>
          </a:bodyPr>
          <a:lstStyle>
            <a:lvl1pPr algn="ctr">
              <a:defRPr sz="1800">
                <a:solidFill>
                  <a:schemeClr val="tx2"/>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7" name="テキスト プレースホルダー 17">
            <a:extLst>
              <a:ext uri="{FF2B5EF4-FFF2-40B4-BE49-F238E27FC236}">
                <a16:creationId xmlns:a16="http://schemas.microsoft.com/office/drawing/2014/main" id="{869145FC-15D3-07DD-F7BC-C8023E1C08AF}"/>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a:t>
            </a:r>
            <a:r>
              <a:rPr kumimoji="1" lang="ja-JP" altLang="en-US"/>
              <a:t>年</a:t>
            </a:r>
            <a:r>
              <a:rPr kumimoji="1" lang="en-US" altLang="ja-JP"/>
              <a:t>X</a:t>
            </a:r>
            <a:r>
              <a:rPr kumimoji="1" lang="ja-JP" altLang="en-US"/>
              <a:t>月</a:t>
            </a:r>
          </a:p>
        </p:txBody>
      </p:sp>
      <p:pic>
        <p:nvPicPr>
          <p:cNvPr id="2" name="図 1" descr="ロゴ&#10;&#10;自動的に生成された説明">
            <a:extLst>
              <a:ext uri="{FF2B5EF4-FFF2-40B4-BE49-F238E27FC236}">
                <a16:creationId xmlns:a16="http://schemas.microsoft.com/office/drawing/2014/main" id="{AAF6F365-9DA1-5556-986E-27916633AE9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886419" y="4470537"/>
            <a:ext cx="880182" cy="579160"/>
          </a:xfrm>
          <a:prstGeom prst="rect">
            <a:avLst/>
          </a:prstGeom>
        </p:spPr>
      </p:pic>
      <p:sp>
        <p:nvSpPr>
          <p:cNvPr id="18" name="スライド番号プレースホルダー 24">
            <a:extLst>
              <a:ext uri="{FF2B5EF4-FFF2-40B4-BE49-F238E27FC236}">
                <a16:creationId xmlns:a16="http://schemas.microsoft.com/office/drawing/2014/main" id="{1C9CDCD0-0B45-45DA-B6C2-A850DE4EADE3}"/>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380829048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7" name="テキスト プレースホルダー 23">
            <a:extLst>
              <a:ext uri="{FF2B5EF4-FFF2-40B4-BE49-F238E27FC236}">
                <a16:creationId xmlns:a16="http://schemas.microsoft.com/office/drawing/2014/main" id="{7CA73F3A-B4C6-B201-9FA1-F97E675551C3}"/>
              </a:ext>
            </a:extLst>
          </p:cNvPr>
          <p:cNvSpPr>
            <a:spLocks noGrp="1"/>
          </p:cNvSpPr>
          <p:nvPr>
            <p:ph type="body" sz="quarter" idx="14"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pic>
        <p:nvPicPr>
          <p:cNvPr id="3" name="図 2">
            <a:extLst>
              <a:ext uri="{FF2B5EF4-FFF2-40B4-BE49-F238E27FC236}">
                <a16:creationId xmlns:a16="http://schemas.microsoft.com/office/drawing/2014/main" id="{74D1A9B9-3802-4EC7-849F-948BC9F3AC4C}"/>
              </a:ext>
            </a:extLst>
          </p:cNvPr>
          <p:cNvPicPr>
            <a:picLocks noChangeAspect="1"/>
          </p:cNvPicPr>
          <p:nvPr userDrawn="1"/>
        </p:nvPicPr>
        <p:blipFill>
          <a:blip r:embed="rId2"/>
          <a:stretch>
            <a:fillRect/>
          </a:stretch>
        </p:blipFill>
        <p:spPr>
          <a:xfrm>
            <a:off x="0" y="499"/>
            <a:ext cx="877900" cy="877900"/>
          </a:xfrm>
          <a:prstGeom prst="rect">
            <a:avLst/>
          </a:prstGeom>
        </p:spPr>
      </p:pic>
    </p:spTree>
    <p:extLst>
      <p:ext uri="{BB962C8B-B14F-4D97-AF65-F5344CB8AC3E}">
        <p14:creationId xmlns:p14="http://schemas.microsoft.com/office/powerpoint/2010/main" val="40266682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2" name="図 1">
            <a:extLst>
              <a:ext uri="{FF2B5EF4-FFF2-40B4-BE49-F238E27FC236}">
                <a16:creationId xmlns:a16="http://schemas.microsoft.com/office/drawing/2014/main" id="{106F3F56-A881-A82C-BF83-0D97E885A606}"/>
              </a:ext>
            </a:extLst>
          </p:cNvPr>
          <p:cNvPicPr>
            <a:picLocks noChangeAspect="1"/>
          </p:cNvPicPr>
          <p:nvPr userDrawn="1"/>
        </p:nvPicPr>
        <p:blipFill>
          <a:blip r:embed="rId2"/>
          <a:stretch>
            <a:fillRect/>
          </a:stretch>
        </p:blipFill>
        <p:spPr>
          <a:xfrm>
            <a:off x="-12300" y="2099"/>
            <a:ext cx="876300" cy="876300"/>
          </a:xfrm>
          <a:prstGeom prst="rect">
            <a:avLst/>
          </a:prstGeom>
        </p:spPr>
      </p:pic>
      <p:sp>
        <p:nvSpPr>
          <p:cNvPr id="3" name="テキスト プレースホルダー 23">
            <a:extLst>
              <a:ext uri="{FF2B5EF4-FFF2-40B4-BE49-F238E27FC236}">
                <a16:creationId xmlns:a16="http://schemas.microsoft.com/office/drawing/2014/main" id="{8DDE5366-03EE-5B59-BAB0-F0E5131329CF}"/>
              </a:ext>
            </a:extLst>
          </p:cNvPr>
          <p:cNvSpPr>
            <a:spLocks noGrp="1"/>
          </p:cNvSpPr>
          <p:nvPr>
            <p:ph type="body" sz="quarter" idx="15" hasCustomPrompt="1"/>
          </p:nvPr>
        </p:nvSpPr>
        <p:spPr>
          <a:xfrm>
            <a:off x="-12300" y="120824"/>
            <a:ext cx="876299" cy="692497"/>
          </a:xfrm>
        </p:spPr>
        <p:txBody>
          <a:bodyPr/>
          <a:lstStyle>
            <a:lvl1pPr marL="14400" algn="ctr">
              <a:lnSpc>
                <a:spcPct val="100000"/>
              </a:lnSpc>
              <a:spcBef>
                <a:spcPts val="100"/>
              </a:spcBef>
              <a:spcAft>
                <a:spcPts val="0"/>
              </a:spcAft>
              <a:defRPr sz="4500" b="0" i="0">
                <a:solidFill>
                  <a:schemeClr val="bg1"/>
                </a:solidFill>
                <a:latin typeface="Yu Gothic Light" panose="020B0300000000000000" pitchFamily="34" charset="-128"/>
                <a:ea typeface="Yu Gothic Light" panose="020B03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en-US" altLang="ja-JP"/>
              <a:t>1</a:t>
            </a:r>
            <a:endParaRPr kumimoji="1" lang="ja-JP" altLang="en-US"/>
          </a:p>
        </p:txBody>
      </p:sp>
    </p:spTree>
    <p:extLst>
      <p:ext uri="{BB962C8B-B14F-4D97-AF65-F5344CB8AC3E}">
        <p14:creationId xmlns:p14="http://schemas.microsoft.com/office/powerpoint/2010/main" val="6331105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1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275024"/>
            <a:ext cx="10234684"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pic>
        <p:nvPicPr>
          <p:cNvPr id="2" name="図 1">
            <a:extLst>
              <a:ext uri="{FF2B5EF4-FFF2-40B4-BE49-F238E27FC236}">
                <a16:creationId xmlns:a16="http://schemas.microsoft.com/office/drawing/2014/main" id="{CD406EF6-3B81-2C4D-B686-104E80845AC8}"/>
              </a:ext>
            </a:extLst>
          </p:cNvPr>
          <p:cNvPicPr>
            <a:picLocks noChangeAspect="1"/>
          </p:cNvPicPr>
          <p:nvPr userDrawn="1"/>
        </p:nvPicPr>
        <p:blipFill>
          <a:blip r:embed="rId2"/>
          <a:stretch>
            <a:fillRect/>
          </a:stretch>
        </p:blipFill>
        <p:spPr>
          <a:xfrm>
            <a:off x="-12300" y="2099"/>
            <a:ext cx="876300" cy="876300"/>
          </a:xfrm>
          <a:prstGeom prst="rect">
            <a:avLst/>
          </a:prstGeom>
        </p:spPr>
      </p:pic>
    </p:spTree>
    <p:extLst>
      <p:ext uri="{BB962C8B-B14F-4D97-AF65-F5344CB8AC3E}">
        <p14:creationId xmlns:p14="http://schemas.microsoft.com/office/powerpoint/2010/main" val="270423532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ナンバリング無し_本文_タイトル2段">
    <p:spTree>
      <p:nvGrpSpPr>
        <p:cNvPr id="1" name=""/>
        <p:cNvGrpSpPr/>
        <p:nvPr/>
      </p:nvGrpSpPr>
      <p:grpSpPr>
        <a:xfrm>
          <a:off x="0" y="0"/>
          <a:ext cx="0" cy="0"/>
          <a:chOff x="0" y="0"/>
          <a:chExt cx="0" cy="0"/>
        </a:xfrm>
      </p:grpSpPr>
      <p:sp>
        <p:nvSpPr>
          <p:cNvPr id="13" name="タイトル 12">
            <a:extLst>
              <a:ext uri="{FF2B5EF4-FFF2-40B4-BE49-F238E27FC236}">
                <a16:creationId xmlns:a16="http://schemas.microsoft.com/office/drawing/2014/main" id="{09A89F03-5E81-1E7A-45AC-470E217FDEAF}"/>
              </a:ext>
            </a:extLst>
          </p:cNvPr>
          <p:cNvSpPr>
            <a:spLocks noGrp="1"/>
          </p:cNvSpPr>
          <p:nvPr>
            <p:ph type="title"/>
          </p:nvPr>
        </p:nvSpPr>
        <p:spPr>
          <a:xfrm>
            <a:off x="978658" y="139434"/>
            <a:ext cx="10235442" cy="323165"/>
          </a:xfrm>
        </p:spPr>
        <p:txBody>
          <a:bodyPr/>
          <a:lstStyle>
            <a:lvl1pPr>
              <a:defRPr sz="2100" b="1" i="0" spc="0">
                <a:solidFill>
                  <a:schemeClr val="accent3"/>
                </a:solidFill>
                <a:latin typeface="Yu Gothic" panose="020B0400000000000000" pitchFamily="34" charset="-128"/>
                <a:ea typeface="Yu Gothic" panose="020B0400000000000000" pitchFamily="34" charset="-128"/>
              </a:defRPr>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1" lang="ja-JP" altLang="en-US"/>
          </a:p>
        </p:txBody>
      </p:sp>
      <p:sp>
        <p:nvSpPr>
          <p:cNvPr id="24" name="テキスト プレースホルダー 23">
            <a:extLst>
              <a:ext uri="{FF2B5EF4-FFF2-40B4-BE49-F238E27FC236}">
                <a16:creationId xmlns:a16="http://schemas.microsoft.com/office/drawing/2014/main" id="{503D5E8C-36F3-01CB-E79F-A7E44E02BED0}"/>
              </a:ext>
            </a:extLst>
          </p:cNvPr>
          <p:cNvSpPr>
            <a:spLocks noGrp="1"/>
          </p:cNvSpPr>
          <p:nvPr>
            <p:ph type="body" sz="quarter" idx="11"/>
          </p:nvPr>
        </p:nvSpPr>
        <p:spPr>
          <a:xfrm>
            <a:off x="977900" y="1021362"/>
            <a:ext cx="10235442" cy="940770"/>
          </a:xfrm>
        </p:spPr>
        <p:txBody>
          <a:bodyPr>
            <a:noAutofit/>
          </a:bodyPr>
          <a:lstStyle>
            <a:lvl1pPr>
              <a:spcAft>
                <a:spcPts val="500"/>
              </a:spcAft>
              <a:defRPr sz="1600" b="0" i="0">
                <a:solidFill>
                  <a:schemeClr val="tx1"/>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1"/>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1"/>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1"/>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1"/>
                </a:solidFill>
                <a:latin typeface="Yu Gothic Medium" panose="020B0400000000000000" pitchFamily="34" charset="-128"/>
                <a:ea typeface="Yu Gothic Medium"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p:txBody>
      </p:sp>
      <p:sp>
        <p:nvSpPr>
          <p:cNvPr id="25" name="スライド番号プレースホルダー 24">
            <a:extLst>
              <a:ext uri="{FF2B5EF4-FFF2-40B4-BE49-F238E27FC236}">
                <a16:creationId xmlns:a16="http://schemas.microsoft.com/office/drawing/2014/main" id="{C702C8A4-1373-4185-DB78-9EE30BB23D58}"/>
              </a:ext>
            </a:extLst>
          </p:cNvPr>
          <p:cNvSpPr>
            <a:spLocks noGrp="1"/>
          </p:cNvSpPr>
          <p:nvPr>
            <p:ph type="sldNum" sz="quarter" idx="12"/>
          </p:nvPr>
        </p:nvSpPr>
        <p:spPr/>
        <p:txBody>
          <a:bodyPr/>
          <a:lstStyle/>
          <a:p>
            <a:fld id="{34A25005-A456-2C43-92D8-007A27047B97}" type="slidenum">
              <a:rPr kumimoji="1" lang="ja-JP" altLang="en-US" smtClean="0"/>
              <a:pPr/>
              <a:t>‹#›</a:t>
            </a:fld>
            <a:endParaRPr kumimoji="1" lang="ja-JP" altLang="en-US"/>
          </a:p>
        </p:txBody>
      </p:sp>
      <p:sp>
        <p:nvSpPr>
          <p:cNvPr id="4" name="object 111">
            <a:extLst>
              <a:ext uri="{FF2B5EF4-FFF2-40B4-BE49-F238E27FC236}">
                <a16:creationId xmlns:a16="http://schemas.microsoft.com/office/drawing/2014/main" id="{8732BE80-90A9-32CB-5FE3-42F27A7AE681}"/>
              </a:ext>
            </a:extLst>
          </p:cNvPr>
          <p:cNvSpPr/>
          <p:nvPr userDrawn="1"/>
        </p:nvSpPr>
        <p:spPr>
          <a:xfrm>
            <a:off x="977900" y="878399"/>
            <a:ext cx="10236200" cy="0"/>
          </a:xfrm>
          <a:custGeom>
            <a:avLst/>
            <a:gdLst/>
            <a:ahLst/>
            <a:cxnLst/>
            <a:rect l="l" t="t" r="r" b="b"/>
            <a:pathLst>
              <a:path w="10236200">
                <a:moveTo>
                  <a:pt x="0" y="0"/>
                </a:moveTo>
                <a:lnTo>
                  <a:pt x="10236200" y="0"/>
                </a:lnTo>
              </a:path>
            </a:pathLst>
          </a:custGeom>
          <a:ln w="4762">
            <a:solidFill>
              <a:schemeClr val="tx1"/>
            </a:solidFill>
          </a:ln>
        </p:spPr>
        <p:txBody>
          <a:bodyPr wrap="square" lIns="0" tIns="0" rIns="0" bIns="0" rtlCol="0"/>
          <a:lstStyle/>
          <a:p>
            <a:endParaRPr/>
          </a:p>
        </p:txBody>
      </p:sp>
      <p:sp>
        <p:nvSpPr>
          <p:cNvPr id="6" name="図プレースホルダー 5">
            <a:extLst>
              <a:ext uri="{FF2B5EF4-FFF2-40B4-BE49-F238E27FC236}">
                <a16:creationId xmlns:a16="http://schemas.microsoft.com/office/drawing/2014/main" id="{66923F7F-DDDC-47DA-EE28-927601F58B12}"/>
              </a:ext>
            </a:extLst>
          </p:cNvPr>
          <p:cNvSpPr>
            <a:spLocks noGrp="1"/>
          </p:cNvSpPr>
          <p:nvPr>
            <p:ph type="pic" sz="quarter" idx="13"/>
          </p:nvPr>
        </p:nvSpPr>
        <p:spPr>
          <a:xfrm>
            <a:off x="977900" y="2099258"/>
            <a:ext cx="10236200" cy="4089029"/>
          </a:xfrm>
        </p:spPr>
        <p:txBody>
          <a:bodyPr/>
          <a:lstStyle/>
          <a:p>
            <a:endParaRPr kumimoji="1" lang="ja-JP" altLang="en-US"/>
          </a:p>
        </p:txBody>
      </p:sp>
      <p:sp>
        <p:nvSpPr>
          <p:cNvPr id="9" name="テキスト プレースホルダー 23">
            <a:extLst>
              <a:ext uri="{FF2B5EF4-FFF2-40B4-BE49-F238E27FC236}">
                <a16:creationId xmlns:a16="http://schemas.microsoft.com/office/drawing/2014/main" id="{B633E58F-A97D-33D4-AAD3-BF3485927906}"/>
              </a:ext>
            </a:extLst>
          </p:cNvPr>
          <p:cNvSpPr>
            <a:spLocks noGrp="1"/>
          </p:cNvSpPr>
          <p:nvPr>
            <p:ph type="body" sz="quarter" idx="14"/>
          </p:nvPr>
        </p:nvSpPr>
        <p:spPr>
          <a:xfrm>
            <a:off x="977900" y="454692"/>
            <a:ext cx="10235442" cy="296876"/>
          </a:xfrm>
        </p:spPr>
        <p:txBody>
          <a:bodyPr/>
          <a:lstStyle>
            <a:lvl1pPr>
              <a:spcAft>
                <a:spcPts val="500"/>
              </a:spcAft>
              <a:defRPr sz="1600" b="0" i="0">
                <a:solidFill>
                  <a:schemeClr val="accent3"/>
                </a:solidFill>
                <a:latin typeface="Yu Gothic Medium" panose="020B0400000000000000" pitchFamily="34" charset="-128"/>
                <a:ea typeface="Yu Gothic Medium" panose="020B0400000000000000" pitchFamily="34" charset="-128"/>
              </a:defRPr>
            </a:lvl1pPr>
            <a:lvl2pPr>
              <a:spcAft>
                <a:spcPts val="500"/>
              </a:spcAft>
              <a:defRPr sz="1600" b="0" i="0">
                <a:solidFill>
                  <a:schemeClr val="tx2"/>
                </a:solidFill>
                <a:latin typeface="Yu Gothic Medium" panose="020B0400000000000000" pitchFamily="34" charset="-128"/>
                <a:ea typeface="Yu Gothic Medium" panose="020B0400000000000000" pitchFamily="34" charset="-128"/>
              </a:defRPr>
            </a:lvl2pPr>
            <a:lvl3pPr>
              <a:spcAft>
                <a:spcPts val="500"/>
              </a:spcAft>
              <a:defRPr sz="1600" b="0" i="0">
                <a:solidFill>
                  <a:schemeClr val="tx2"/>
                </a:solidFill>
                <a:latin typeface="Yu Gothic Medium" panose="020B0400000000000000" pitchFamily="34" charset="-128"/>
                <a:ea typeface="Yu Gothic Medium" panose="020B0400000000000000" pitchFamily="34" charset="-128"/>
              </a:defRPr>
            </a:lvl3pPr>
            <a:lvl4pPr>
              <a:spcAft>
                <a:spcPts val="500"/>
              </a:spcAft>
              <a:defRPr sz="1600" b="0" i="0">
                <a:solidFill>
                  <a:schemeClr val="tx2"/>
                </a:solidFill>
                <a:latin typeface="Yu Gothic Medium" panose="020B0400000000000000" pitchFamily="34" charset="-128"/>
                <a:ea typeface="Yu Gothic Medium" panose="020B0400000000000000" pitchFamily="34" charset="-128"/>
              </a:defRPr>
            </a:lvl4pPr>
            <a:lvl5pPr>
              <a:spcAft>
                <a:spcPts val="500"/>
              </a:spcAft>
              <a:defRPr sz="1600" b="0" i="0">
                <a:solidFill>
                  <a:schemeClr val="tx2"/>
                </a:solidFill>
                <a:latin typeface="Yu Gothic Medium" panose="020B0400000000000000" pitchFamily="34" charset="-128"/>
                <a:ea typeface="Yu Gothic Medium" panose="020B0400000000000000" pitchFamily="34" charset="-128"/>
              </a:defRPr>
            </a:lvl5pPr>
          </a:lstStyle>
          <a:p>
            <a:pPr lvl="0"/>
            <a:endParaRPr kumimoji="1" lang="ja-JP" altLang="en-US"/>
          </a:p>
        </p:txBody>
      </p:sp>
      <p:pic>
        <p:nvPicPr>
          <p:cNvPr id="2" name="図 1">
            <a:extLst>
              <a:ext uri="{FF2B5EF4-FFF2-40B4-BE49-F238E27FC236}">
                <a16:creationId xmlns:a16="http://schemas.microsoft.com/office/drawing/2014/main" id="{106F3F56-A881-A82C-BF83-0D97E885A606}"/>
              </a:ext>
            </a:extLst>
          </p:cNvPr>
          <p:cNvPicPr>
            <a:picLocks noChangeAspect="1"/>
          </p:cNvPicPr>
          <p:nvPr userDrawn="1"/>
        </p:nvPicPr>
        <p:blipFill>
          <a:blip r:embed="rId2"/>
          <a:stretch>
            <a:fillRect/>
          </a:stretch>
        </p:blipFill>
        <p:spPr>
          <a:xfrm>
            <a:off x="-12300" y="2099"/>
            <a:ext cx="876300" cy="876300"/>
          </a:xfrm>
          <a:prstGeom prst="rect">
            <a:avLst/>
          </a:prstGeom>
        </p:spPr>
      </p:pic>
    </p:spTree>
    <p:extLst>
      <p:ext uri="{BB962C8B-B14F-4D97-AF65-F5344CB8AC3E}">
        <p14:creationId xmlns:p14="http://schemas.microsoft.com/office/powerpoint/2010/main" val="12058258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obj"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269574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005993"/>
                </a:solidFill>
                <a:latin typeface="メイリオ"/>
                <a:cs typeface="メイリオ"/>
              </a:defRPr>
            </a:lvl1pPr>
          </a:lstStyle>
          <a:p>
            <a:endParaRPr/>
          </a:p>
        </p:txBody>
      </p:sp>
      <p:sp>
        <p:nvSpPr>
          <p:cNvPr id="3" name="Holder 3"/>
          <p:cNvSpPr>
            <a:spLocks noGrp="1"/>
          </p:cNvSpPr>
          <p:nvPr>
            <p:ph type="body" idx="1"/>
          </p:nvPr>
        </p:nvSpPr>
        <p:spPr/>
        <p:txBody>
          <a:bodyPr lIns="0" tIns="0" rIns="0" bIns="0"/>
          <a:lstStyle>
            <a:lvl1pPr>
              <a:defRPr sz="1400" b="0" i="0">
                <a:solidFill>
                  <a:srgbClr val="231F20"/>
                </a:solidFill>
                <a:latin typeface="メイリオ"/>
                <a:cs typeface="メイリオ"/>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15/2024</a:t>
            </a:fld>
            <a:endParaRPr lang="en-US"/>
          </a:p>
        </p:txBody>
      </p:sp>
      <p:sp>
        <p:nvSpPr>
          <p:cNvPr id="6" name="Holder 6"/>
          <p:cNvSpPr>
            <a:spLocks noGrp="1"/>
          </p:cNvSpPr>
          <p:nvPr>
            <p:ph type="sldNum" sz="quarter" idx="7"/>
          </p:nvPr>
        </p:nvSpPr>
        <p:spPr/>
        <p:txBody>
          <a:bodyPr lIns="0" tIns="0" rIns="0" bIns="0"/>
          <a:lstStyle>
            <a:lvl1pPr>
              <a:defRPr sz="1000" b="0" i="0">
                <a:solidFill>
                  <a:srgbClr val="231F20"/>
                </a:solidFill>
                <a:latin typeface="メイリオ"/>
                <a:cs typeface="メイリオ"/>
              </a:defRPr>
            </a:lvl1pPr>
          </a:lstStyle>
          <a:p>
            <a:pPr marL="38100">
              <a:lnSpc>
                <a:spcPct val="100000"/>
              </a:lnSpc>
              <a:spcBef>
                <a:spcPts val="160"/>
              </a:spcBef>
            </a:pPr>
            <a:fld id="{81D60167-4931-47E6-BA6A-407CBD079E47}" type="slidenum">
              <a:rPr dirty="0"/>
              <a:t>‹#›</a:t>
            </a:fld>
            <a:endParaRPr/>
          </a:p>
        </p:txBody>
      </p:sp>
    </p:spTree>
    <p:extLst>
      <p:ext uri="{BB962C8B-B14F-4D97-AF65-F5344CB8AC3E}">
        <p14:creationId xmlns:p14="http://schemas.microsoft.com/office/powerpoint/2010/main" val="352057338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9D5872FB-3951-9C71-38D9-F95EAED20B9A}"/>
              </a:ext>
            </a:extLst>
          </p:cNvPr>
          <p:cNvGrpSpPr/>
          <p:nvPr userDrawn="1"/>
        </p:nvGrpSpPr>
        <p:grpSpPr>
          <a:xfrm>
            <a:off x="0" y="0"/>
            <a:ext cx="12192000" cy="6858367"/>
            <a:chOff x="0" y="0"/>
            <a:chExt cx="12192000" cy="6858367"/>
          </a:xfrm>
        </p:grpSpPr>
        <p:pic>
          <p:nvPicPr>
            <p:cNvPr id="3" name="図 2" descr="海に泳いでいる&#10;&#10;自動的に生成された説明">
              <a:extLst>
                <a:ext uri="{FF2B5EF4-FFF2-40B4-BE49-F238E27FC236}">
                  <a16:creationId xmlns:a16="http://schemas.microsoft.com/office/drawing/2014/main" id="{D9B0EA4F-C783-9247-58DA-5F17BC5CFB0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図 3">
              <a:extLst>
                <a:ext uri="{FF2B5EF4-FFF2-40B4-BE49-F238E27FC236}">
                  <a16:creationId xmlns:a16="http://schemas.microsoft.com/office/drawing/2014/main" id="{73C7E1A5-FA5C-28A5-26B1-EB7814C40AC8}"/>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grpSp>
      <p:sp>
        <p:nvSpPr>
          <p:cNvPr id="5" name="object 3">
            <a:extLst>
              <a:ext uri="{FF2B5EF4-FFF2-40B4-BE49-F238E27FC236}">
                <a16:creationId xmlns:a16="http://schemas.microsoft.com/office/drawing/2014/main" id="{08321986-B0F2-CAF0-8DA8-3C3785466D4C}"/>
              </a:ext>
            </a:extLst>
          </p:cNvPr>
          <p:cNvSpPr/>
          <p:nvPr userDrawn="1"/>
        </p:nvSpPr>
        <p:spPr>
          <a:xfrm>
            <a:off x="1" y="945388"/>
            <a:ext cx="5842584" cy="4495800"/>
          </a:xfrm>
          <a:custGeom>
            <a:avLst/>
            <a:gdLst/>
            <a:ahLst/>
            <a:cxnLst/>
            <a:rect l="l" t="t" r="r" b="b"/>
            <a:pathLst>
              <a:path w="5027295" h="4495800">
                <a:moveTo>
                  <a:pt x="5026710" y="0"/>
                </a:moveTo>
                <a:lnTo>
                  <a:pt x="0" y="0"/>
                </a:lnTo>
                <a:lnTo>
                  <a:pt x="0" y="4495228"/>
                </a:lnTo>
                <a:lnTo>
                  <a:pt x="5026710" y="4495228"/>
                </a:lnTo>
                <a:lnTo>
                  <a:pt x="5026710" y="0"/>
                </a:lnTo>
                <a:close/>
              </a:path>
            </a:pathLst>
          </a:custGeom>
          <a:solidFill>
            <a:schemeClr val="bg1">
              <a:alpha val="70000"/>
            </a:schemeClr>
          </a:solidFill>
        </p:spPr>
        <p:txBody>
          <a:bodyPr wrap="square" lIns="0" tIns="0" rIns="0" bIns="0" rtlCol="0"/>
          <a:lstStyle/>
          <a:p>
            <a:endParaRPr>
              <a:solidFill>
                <a:schemeClr val="tx1"/>
              </a:solidFill>
            </a:endParaRPr>
          </a:p>
        </p:txBody>
      </p:sp>
      <p:sp>
        <p:nvSpPr>
          <p:cNvPr id="11" name="object 4">
            <a:extLst>
              <a:ext uri="{FF2B5EF4-FFF2-40B4-BE49-F238E27FC236}">
                <a16:creationId xmlns:a16="http://schemas.microsoft.com/office/drawing/2014/main" id="{4094AEAC-94BE-59D2-C4C0-F7B0EAFCA59C}"/>
              </a:ext>
            </a:extLst>
          </p:cNvPr>
          <p:cNvSpPr/>
          <p:nvPr userDrawn="1"/>
        </p:nvSpPr>
        <p:spPr>
          <a:xfrm>
            <a:off x="0" y="945388"/>
            <a:ext cx="813435" cy="4495800"/>
          </a:xfrm>
          <a:custGeom>
            <a:avLst/>
            <a:gdLst/>
            <a:ahLst/>
            <a:cxnLst/>
            <a:rect l="l" t="t" r="r" b="b"/>
            <a:pathLst>
              <a:path w="813435" h="4495800">
                <a:moveTo>
                  <a:pt x="813371" y="0"/>
                </a:moveTo>
                <a:lnTo>
                  <a:pt x="0" y="0"/>
                </a:lnTo>
                <a:lnTo>
                  <a:pt x="0" y="4495228"/>
                </a:lnTo>
                <a:lnTo>
                  <a:pt x="813371" y="4495228"/>
                </a:lnTo>
                <a:lnTo>
                  <a:pt x="813371" y="0"/>
                </a:lnTo>
                <a:close/>
              </a:path>
            </a:pathLst>
          </a:custGeom>
          <a:solidFill>
            <a:schemeClr val="accent3"/>
          </a:solidFill>
        </p:spPr>
        <p:txBody>
          <a:bodyPr wrap="square" lIns="0" tIns="0" rIns="0" bIns="0" rtlCol="0"/>
          <a:lstStyle/>
          <a:p>
            <a:endParaRPr/>
          </a:p>
        </p:txBody>
      </p:sp>
      <p:sp>
        <p:nvSpPr>
          <p:cNvPr id="12" name="タイトル 4">
            <a:extLst>
              <a:ext uri="{FF2B5EF4-FFF2-40B4-BE49-F238E27FC236}">
                <a16:creationId xmlns:a16="http://schemas.microsoft.com/office/drawing/2014/main" id="{43E8DDDD-185C-8D35-8446-E89B4AD64AB4}"/>
              </a:ext>
            </a:extLst>
          </p:cNvPr>
          <p:cNvSpPr>
            <a:spLocks noGrp="1"/>
          </p:cNvSpPr>
          <p:nvPr>
            <p:ph type="title"/>
          </p:nvPr>
        </p:nvSpPr>
        <p:spPr>
          <a:xfrm>
            <a:off x="1169488" y="2500011"/>
            <a:ext cx="4316912" cy="361637"/>
          </a:xfrm>
        </p:spPr>
        <p:txBody>
          <a:bodyPr>
            <a:noAutofit/>
          </a:bodyPr>
          <a:lstStyle>
            <a:lvl1pPr algn="ctr">
              <a:defRPr sz="2800" b="1" i="0">
                <a:solidFill>
                  <a:schemeClr val="tx1"/>
                </a:solidFill>
                <a:latin typeface="Yu Gothic" panose="020B0400000000000000" pitchFamily="34" charset="-128"/>
                <a:ea typeface="Yu Gothic" panose="020B0400000000000000" pitchFamily="34" charset="-128"/>
                <a:cs typeface="Arial" panose="020B0604020202020204" pitchFamily="34" charset="0"/>
              </a:defRPr>
            </a:lvl1pPr>
          </a:lstStyle>
          <a:p>
            <a:endParaRPr kumimoji="1" lang="ja-JP" altLang="en-US"/>
          </a:p>
        </p:txBody>
      </p:sp>
      <p:sp>
        <p:nvSpPr>
          <p:cNvPr id="13" name="テキスト プレースホルダー 22">
            <a:extLst>
              <a:ext uri="{FF2B5EF4-FFF2-40B4-BE49-F238E27FC236}">
                <a16:creationId xmlns:a16="http://schemas.microsoft.com/office/drawing/2014/main" id="{53B6E0EF-88A0-5373-4FA1-F8A2A149F742}"/>
              </a:ext>
            </a:extLst>
          </p:cNvPr>
          <p:cNvSpPr>
            <a:spLocks noGrp="1"/>
          </p:cNvSpPr>
          <p:nvPr>
            <p:ph type="body" sz="quarter" idx="12" hasCustomPrompt="1"/>
          </p:nvPr>
        </p:nvSpPr>
        <p:spPr>
          <a:xfrm>
            <a:off x="1169488" y="2956955"/>
            <a:ext cx="4316911" cy="222625"/>
          </a:xfrm>
        </p:spPr>
        <p:txBody>
          <a:bodyPr anchor="ctr" anchorCtr="0">
            <a:noAutofit/>
          </a:bodyPr>
          <a:lstStyle>
            <a:lvl1pPr marL="0" algn="ctr">
              <a:spcBef>
                <a:spcPts val="0"/>
              </a:spcBef>
              <a:defRPr sz="2000" b="0" i="0">
                <a:solidFill>
                  <a:schemeClr val="tx1"/>
                </a:solidFill>
                <a:latin typeface="Yu Gothic Medium" panose="020B0400000000000000" pitchFamily="34" charset="-128"/>
                <a:ea typeface="Yu Gothic Medium" panose="020B0400000000000000" pitchFamily="34" charset="-128"/>
              </a:defRPr>
            </a:lvl1pPr>
          </a:lstStyle>
          <a:p>
            <a:pPr lvl="0"/>
            <a:r>
              <a:rPr kumimoji="1" lang="ja-JP" altLang="en-US"/>
              <a:t>サブタイトル</a:t>
            </a:r>
          </a:p>
        </p:txBody>
      </p:sp>
      <p:sp>
        <p:nvSpPr>
          <p:cNvPr id="14" name="object 12">
            <a:extLst>
              <a:ext uri="{FF2B5EF4-FFF2-40B4-BE49-F238E27FC236}">
                <a16:creationId xmlns:a16="http://schemas.microsoft.com/office/drawing/2014/main" id="{940DBB74-7D85-5848-24BB-D8AD483FE4DF}"/>
              </a:ext>
            </a:extLst>
          </p:cNvPr>
          <p:cNvSpPr/>
          <p:nvPr userDrawn="1"/>
        </p:nvSpPr>
        <p:spPr>
          <a:xfrm>
            <a:off x="1169488" y="1989310"/>
            <a:ext cx="4316912" cy="13618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5" name="object 13">
            <a:extLst>
              <a:ext uri="{FF2B5EF4-FFF2-40B4-BE49-F238E27FC236}">
                <a16:creationId xmlns:a16="http://schemas.microsoft.com/office/drawing/2014/main" id="{84B76BE8-FF9A-A21A-CC32-B674DFBFB0A0}"/>
              </a:ext>
            </a:extLst>
          </p:cNvPr>
          <p:cNvSpPr/>
          <p:nvPr userDrawn="1"/>
        </p:nvSpPr>
        <p:spPr>
          <a:xfrm flipV="1">
            <a:off x="1169488" y="3638778"/>
            <a:ext cx="4316912" cy="45720"/>
          </a:xfrm>
          <a:custGeom>
            <a:avLst/>
            <a:gdLst/>
            <a:ahLst/>
            <a:cxnLst/>
            <a:rect l="l" t="t" r="r" b="b"/>
            <a:pathLst>
              <a:path w="3286760">
                <a:moveTo>
                  <a:pt x="0" y="0"/>
                </a:moveTo>
                <a:lnTo>
                  <a:pt x="3286239" y="0"/>
                </a:lnTo>
              </a:path>
            </a:pathLst>
          </a:custGeom>
          <a:ln w="4229">
            <a:solidFill>
              <a:schemeClr val="tx1">
                <a:lumMod val="50000"/>
              </a:schemeClr>
            </a:solidFill>
          </a:ln>
        </p:spPr>
        <p:txBody>
          <a:bodyPr wrap="square" lIns="0" tIns="0" rIns="0" bIns="0" rtlCol="0"/>
          <a:lstStyle/>
          <a:p>
            <a:endParaRPr/>
          </a:p>
        </p:txBody>
      </p:sp>
      <p:sp>
        <p:nvSpPr>
          <p:cNvPr id="16" name="テキスト プレースホルダー 17">
            <a:extLst>
              <a:ext uri="{FF2B5EF4-FFF2-40B4-BE49-F238E27FC236}">
                <a16:creationId xmlns:a16="http://schemas.microsoft.com/office/drawing/2014/main" id="{F5269317-7FFF-D43F-6B56-74DBA27C475A}"/>
              </a:ext>
            </a:extLst>
          </p:cNvPr>
          <p:cNvSpPr>
            <a:spLocks noGrp="1"/>
          </p:cNvSpPr>
          <p:nvPr>
            <p:ph type="body" sz="quarter" idx="13"/>
          </p:nvPr>
        </p:nvSpPr>
        <p:spPr>
          <a:xfrm>
            <a:off x="1169488" y="1553983"/>
            <a:ext cx="4316911" cy="279049"/>
          </a:xfrm>
        </p:spPr>
        <p:txBody>
          <a:bodyPr anchor="ctr" anchorCtr="0">
            <a:noAutofit/>
          </a:bodyPr>
          <a:lstStyle>
            <a:lvl1pPr algn="ctr">
              <a:defRPr sz="1800">
                <a:solidFill>
                  <a:schemeClr val="tx2"/>
                </a:solidFill>
              </a:defRPr>
            </a:lvl1pPr>
            <a:lvl2pPr algn="ctr">
              <a:defRPr sz="1500">
                <a:solidFill>
                  <a:schemeClr val="bg1"/>
                </a:solidFill>
              </a:defRPr>
            </a:lvl2pPr>
            <a:lvl3pPr algn="ctr">
              <a:defRPr sz="1500">
                <a:solidFill>
                  <a:schemeClr val="bg1"/>
                </a:solidFill>
              </a:defRPr>
            </a:lvl3pPr>
            <a:lvl4pPr algn="ctr">
              <a:defRPr sz="1500">
                <a:solidFill>
                  <a:schemeClr val="bg1"/>
                </a:solidFill>
              </a:defRPr>
            </a:lvl4pPr>
            <a:lvl5pPr algn="ctr">
              <a:defRPr sz="1500">
                <a:solidFill>
                  <a:schemeClr val="bg1"/>
                </a:solidFill>
              </a:defRPr>
            </a:lvl5pPr>
          </a:lstStyle>
          <a:p>
            <a:pPr lvl="0"/>
            <a:r>
              <a:rPr kumimoji="1" lang="ja-JP" altLang="en-US"/>
              <a:t>マスター テキストの書式設定</a:t>
            </a:r>
          </a:p>
        </p:txBody>
      </p:sp>
      <p:sp>
        <p:nvSpPr>
          <p:cNvPr id="17" name="テキスト プレースホルダー 17">
            <a:extLst>
              <a:ext uri="{FF2B5EF4-FFF2-40B4-BE49-F238E27FC236}">
                <a16:creationId xmlns:a16="http://schemas.microsoft.com/office/drawing/2014/main" id="{869145FC-15D3-07DD-F7BC-C8023E1C08AF}"/>
              </a:ext>
            </a:extLst>
          </p:cNvPr>
          <p:cNvSpPr>
            <a:spLocks noGrp="1"/>
          </p:cNvSpPr>
          <p:nvPr>
            <p:ph type="body" sz="quarter" idx="11" hasCustomPrompt="1"/>
          </p:nvPr>
        </p:nvSpPr>
        <p:spPr>
          <a:xfrm>
            <a:off x="1169487" y="3818584"/>
            <a:ext cx="4316911" cy="259751"/>
          </a:xfrm>
        </p:spPr>
        <p:txBody>
          <a:bodyPr anchor="ctr" anchorCtr="0"/>
          <a:lstStyle>
            <a:lvl1pPr algn="ctr">
              <a:defRPr sz="1400" b="0" i="0" spc="0">
                <a:solidFill>
                  <a:schemeClr val="tx1"/>
                </a:solidFill>
                <a:latin typeface="Yu Gothic Medium" panose="020B0400000000000000" pitchFamily="34" charset="-128"/>
                <a:ea typeface="Yu Gothic Medium" panose="020B0400000000000000" pitchFamily="34" charset="-128"/>
                <a:cs typeface="Arial" panose="020B0604020202020204" pitchFamily="34" charset="0"/>
              </a:defRPr>
            </a:lvl1pPr>
            <a:lvl2pPr algn="ctr">
              <a:defRPr sz="800" b="0" i="0">
                <a:solidFill>
                  <a:schemeClr val="bg1"/>
                </a:solidFill>
                <a:latin typeface="Arial" panose="020B0604020202020204" pitchFamily="34" charset="0"/>
                <a:cs typeface="Arial" panose="020B0604020202020204" pitchFamily="34" charset="0"/>
              </a:defRPr>
            </a:lvl2pPr>
            <a:lvl3pPr algn="ctr">
              <a:defRPr sz="800" b="0" i="0">
                <a:solidFill>
                  <a:schemeClr val="bg1"/>
                </a:solidFill>
                <a:latin typeface="Arial" panose="020B0604020202020204" pitchFamily="34" charset="0"/>
                <a:cs typeface="Arial" panose="020B0604020202020204" pitchFamily="34" charset="0"/>
              </a:defRPr>
            </a:lvl3pPr>
            <a:lvl4pPr algn="ctr">
              <a:defRPr sz="800" b="0" i="0">
                <a:solidFill>
                  <a:schemeClr val="bg1"/>
                </a:solidFill>
                <a:latin typeface="Arial" panose="020B0604020202020204" pitchFamily="34" charset="0"/>
                <a:cs typeface="Arial" panose="020B0604020202020204" pitchFamily="34" charset="0"/>
              </a:defRPr>
            </a:lvl4pPr>
            <a:lvl5pPr algn="ctr">
              <a:defRPr sz="800" b="0" i="0">
                <a:solidFill>
                  <a:schemeClr val="bg1"/>
                </a:solidFill>
                <a:latin typeface="Arial" panose="020B0604020202020204" pitchFamily="34" charset="0"/>
                <a:cs typeface="Arial" panose="020B0604020202020204" pitchFamily="34" charset="0"/>
              </a:defRPr>
            </a:lvl5pPr>
          </a:lstStyle>
          <a:p>
            <a:pPr lvl="0"/>
            <a:r>
              <a:rPr kumimoji="1" lang="en-US" altLang="ja-JP"/>
              <a:t>2023</a:t>
            </a:r>
            <a:r>
              <a:rPr kumimoji="1" lang="ja-JP" altLang="en-US"/>
              <a:t>年</a:t>
            </a:r>
            <a:r>
              <a:rPr kumimoji="1" lang="en-US" altLang="ja-JP"/>
              <a:t>X</a:t>
            </a:r>
            <a:r>
              <a:rPr kumimoji="1" lang="ja-JP" altLang="en-US"/>
              <a:t>月</a:t>
            </a:r>
          </a:p>
        </p:txBody>
      </p:sp>
      <p:pic>
        <p:nvPicPr>
          <p:cNvPr id="2" name="図 1" descr="ロゴ&#10;&#10;自動的に生成された説明">
            <a:extLst>
              <a:ext uri="{FF2B5EF4-FFF2-40B4-BE49-F238E27FC236}">
                <a16:creationId xmlns:a16="http://schemas.microsoft.com/office/drawing/2014/main" id="{AAF6F365-9DA1-5556-986E-27916633AE9D}"/>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886419" y="4470537"/>
            <a:ext cx="880182" cy="579160"/>
          </a:xfrm>
          <a:prstGeom prst="rect">
            <a:avLst/>
          </a:prstGeom>
        </p:spPr>
      </p:pic>
      <p:sp>
        <p:nvSpPr>
          <p:cNvPr id="18" name="スライド番号プレースホルダー 24">
            <a:extLst>
              <a:ext uri="{FF2B5EF4-FFF2-40B4-BE49-F238E27FC236}">
                <a16:creationId xmlns:a16="http://schemas.microsoft.com/office/drawing/2014/main" id="{7FC32C21-C3D2-4F63-9428-9BF7F946CB07}"/>
              </a:ext>
            </a:extLst>
          </p:cNvPr>
          <p:cNvSpPr>
            <a:spLocks noGrp="1"/>
          </p:cNvSpPr>
          <p:nvPr>
            <p:ph type="sldNum" sz="quarter" idx="14"/>
          </p:nvPr>
        </p:nvSpPr>
        <p:spPr>
          <a:xfrm>
            <a:off x="9204960" y="6540123"/>
            <a:ext cx="2743200" cy="153888"/>
          </a:xfrm>
        </p:spPr>
        <p:txBody>
          <a:body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316720240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jpe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ags" Target="../tags/tag11.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0.xml"/><Relationship Id="rId2" Type="http://schemas.openxmlformats.org/officeDocument/2006/relationships/slideLayout" Target="../slideLayouts/slideLayout128.xml"/><Relationship Id="rId16" Type="http://schemas.openxmlformats.org/officeDocument/2006/relationships/image" Target="../media/image39.jpeg"/><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image" Target="../media/image1.emf"/><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oleObject" Target="../embeddings/oleObject10.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2" Type="http://schemas.openxmlformats.org/officeDocument/2006/relationships/slideLayout" Target="../slideLayouts/slideLayout139.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image" Target="../media/image2.jpeg"/><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slideLayout" Target="../slideLayouts/slideLayout163.xml"/><Relationship Id="rId18" Type="http://schemas.openxmlformats.org/officeDocument/2006/relationships/image" Target="../media/image2.jpeg"/><Relationship Id="rId3" Type="http://schemas.openxmlformats.org/officeDocument/2006/relationships/slideLayout" Target="../slideLayouts/slideLayout153.xml"/><Relationship Id="rId7" Type="http://schemas.openxmlformats.org/officeDocument/2006/relationships/slideLayout" Target="../slideLayouts/slideLayout157.xml"/><Relationship Id="rId12" Type="http://schemas.openxmlformats.org/officeDocument/2006/relationships/slideLayout" Target="../slideLayouts/slideLayout162.xml"/><Relationship Id="rId17" Type="http://schemas.openxmlformats.org/officeDocument/2006/relationships/image" Target="../media/image1.emf"/><Relationship Id="rId2" Type="http://schemas.openxmlformats.org/officeDocument/2006/relationships/slideLayout" Target="../slideLayouts/slideLayout152.xml"/><Relationship Id="rId16" Type="http://schemas.openxmlformats.org/officeDocument/2006/relationships/oleObject" Target="../embeddings/oleObject11.bin"/><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slideLayout" Target="../slideLayouts/slideLayout161.xml"/><Relationship Id="rId5" Type="http://schemas.openxmlformats.org/officeDocument/2006/relationships/slideLayout" Target="../slideLayouts/slideLayout155.xml"/><Relationship Id="rId15" Type="http://schemas.openxmlformats.org/officeDocument/2006/relationships/tags" Target="../tags/tag12.xml"/><Relationship Id="rId10" Type="http://schemas.openxmlformats.org/officeDocument/2006/relationships/slideLayout" Target="../slideLayouts/slideLayout160.x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image" Target="../media/image2.jpeg"/><Relationship Id="rId3" Type="http://schemas.openxmlformats.org/officeDocument/2006/relationships/slideLayout" Target="../slideLayouts/slideLayout16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image" Target="../media/image1.emf"/><Relationship Id="rId2" Type="http://schemas.openxmlformats.org/officeDocument/2006/relationships/slideLayout" Target="../slideLayouts/slideLayout165.xml"/><Relationship Id="rId16" Type="http://schemas.openxmlformats.org/officeDocument/2006/relationships/oleObject" Target="../embeddings/oleObject12.bin"/><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tags" Target="../tags/tag13.xml"/><Relationship Id="rId10" Type="http://schemas.openxmlformats.org/officeDocument/2006/relationships/slideLayout" Target="../slideLayouts/slideLayout17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theme" Target="../theme/theme1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21" Type="http://schemas.openxmlformats.org/officeDocument/2006/relationships/slideLayout" Target="../slideLayouts/slideLayout55.xml"/><Relationship Id="rId34" Type="http://schemas.openxmlformats.org/officeDocument/2006/relationships/theme" Target="../theme/theme2.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image" Target="../media/image21.jpe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image" Target="../media/image1.emf"/><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oleObject" Target="../embeddings/oleObject2.bin"/><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tags" Target="../tags/tag3.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oleObject" Target="../embeddings/oleObject3.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tags" Target="../tags/tag4.xml"/><Relationship Id="rId5" Type="http://schemas.openxmlformats.org/officeDocument/2006/relationships/slideLayout" Target="../slideLayouts/slideLayout72.xml"/><Relationship Id="rId10" Type="http://schemas.openxmlformats.org/officeDocument/2006/relationships/theme" Target="../theme/theme3.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79.xml"/><Relationship Id="rId7" Type="http://schemas.openxmlformats.org/officeDocument/2006/relationships/theme" Target="../theme/theme4.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image" Target="../media/image21.jpeg"/><Relationship Id="rId5" Type="http://schemas.openxmlformats.org/officeDocument/2006/relationships/slideLayout" Target="../slideLayouts/slideLayout81.xml"/><Relationship Id="rId10" Type="http://schemas.openxmlformats.org/officeDocument/2006/relationships/image" Target="../media/image1.emf"/><Relationship Id="rId4" Type="http://schemas.openxmlformats.org/officeDocument/2006/relationships/slideLayout" Target="../slideLayouts/slideLayout80.xml"/><Relationship Id="rId9"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image" Target="../media/image1.emf"/><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oleObject" Target="../embeddings/oleObject5.bin"/><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tags" Target="../tags/tag6.xml"/><Relationship Id="rId5" Type="http://schemas.openxmlformats.org/officeDocument/2006/relationships/slideLayout" Target="../slideLayouts/slideLayout87.xml"/><Relationship Id="rId10" Type="http://schemas.openxmlformats.org/officeDocument/2006/relationships/theme" Target="../theme/theme5.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image" Target="../media/image39.jpeg"/></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94.xml"/><Relationship Id="rId7" Type="http://schemas.openxmlformats.org/officeDocument/2006/relationships/slideLayout" Target="../slideLayouts/slideLayout98.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image" Target="../media/image1.emf"/><Relationship Id="rId5" Type="http://schemas.openxmlformats.org/officeDocument/2006/relationships/slideLayout" Target="../slideLayouts/slideLayout96.xml"/><Relationship Id="rId10" Type="http://schemas.openxmlformats.org/officeDocument/2006/relationships/oleObject" Target="../embeddings/oleObject6.bin"/><Relationship Id="rId4" Type="http://schemas.openxmlformats.org/officeDocument/2006/relationships/slideLayout" Target="../slideLayouts/slideLayout95.xml"/><Relationship Id="rId9" Type="http://schemas.openxmlformats.org/officeDocument/2006/relationships/tags" Target="../tags/tag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image" Target="../media/image2.jpe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image" Target="../media/image1.emf"/><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oleObject" Target="../embeddings/oleObject7.bin"/><Relationship Id="rId5" Type="http://schemas.openxmlformats.org/officeDocument/2006/relationships/slideLayout" Target="../slideLayouts/slideLayout103.xml"/><Relationship Id="rId10" Type="http://schemas.openxmlformats.org/officeDocument/2006/relationships/tags" Target="../tags/tag8.xml"/><Relationship Id="rId4" Type="http://schemas.openxmlformats.org/officeDocument/2006/relationships/slideLayout" Target="../slideLayouts/slideLayout102.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image" Target="../media/image2.jpeg"/><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image" Target="../media/image1.emf"/><Relationship Id="rId5" Type="http://schemas.openxmlformats.org/officeDocument/2006/relationships/slideLayout" Target="../slideLayouts/slideLayout111.xml"/><Relationship Id="rId10" Type="http://schemas.openxmlformats.org/officeDocument/2006/relationships/oleObject" Target="../embeddings/oleObject8.bin"/><Relationship Id="rId4" Type="http://schemas.openxmlformats.org/officeDocument/2006/relationships/slideLayout" Target="../slideLayouts/slideLayout110.xml"/><Relationship Id="rId9" Type="http://schemas.openxmlformats.org/officeDocument/2006/relationships/tags" Target="../tags/tag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image" Target="../media/image21.jpeg"/><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image" Target="../media/image1.emf"/><Relationship Id="rId2" Type="http://schemas.openxmlformats.org/officeDocument/2006/relationships/slideLayout" Target="../slideLayouts/slideLayout115.xml"/><Relationship Id="rId16" Type="http://schemas.openxmlformats.org/officeDocument/2006/relationships/oleObject" Target="../embeddings/oleObject9.bin"/><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tags" Target="../tags/tag10.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04E0F1B-B7E3-4F90-BFDB-C9F1727AB85D}"/>
              </a:ext>
            </a:extLst>
          </p:cNvPr>
          <p:cNvGraphicFramePr>
            <a:graphicFrameLocks noChangeAspect="1"/>
          </p:cNvGraphicFramePr>
          <p:nvPr userDrawn="1">
            <p:custDataLst>
              <p:tags r:id="rId36"/>
            </p:custDataLst>
            <p:extLst>
              <p:ext uri="{D42A27DB-BD31-4B8C-83A1-F6EECF244321}">
                <p14:modId xmlns:p14="http://schemas.microsoft.com/office/powerpoint/2010/main" val="1639719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7" imgW="473" imgH="476" progId="TCLayout.ActiveDocument.1">
                  <p:embed/>
                </p:oleObj>
              </mc:Choice>
              <mc:Fallback>
                <p:oleObj name="think-cell スライド" r:id="rId37" imgW="473" imgH="476" progId="TCLayout.ActiveDocument.1">
                  <p:embed/>
                  <p:pic>
                    <p:nvPicPr>
                      <p:cNvPr id="6" name="think-cell data - do not delete" hidden="1">
                        <a:extLst>
                          <a:ext uri="{FF2B5EF4-FFF2-40B4-BE49-F238E27FC236}">
                            <a16:creationId xmlns:a16="http://schemas.microsoft.com/office/drawing/2014/main" id="{E04E0F1B-B7E3-4F90-BFDB-C9F1727AB85D}"/>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pic>
        <p:nvPicPr>
          <p:cNvPr id="5" name="図 4">
            <a:extLst>
              <a:ext uri="{FF2B5EF4-FFF2-40B4-BE49-F238E27FC236}">
                <a16:creationId xmlns:a16="http://schemas.microsoft.com/office/drawing/2014/main" id="{2820A412-44D1-0690-24EE-31C509F39DB5}"/>
              </a:ext>
            </a:extLst>
          </p:cNvPr>
          <p:cNvPicPr>
            <a:picLocks noChangeAspect="1"/>
          </p:cNvPicPr>
          <p:nvPr userDrawn="1"/>
        </p:nvPicPr>
        <p:blipFill>
          <a:blip r:embed="rId39"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spTree>
  </p:cSld>
  <p:clrMap bg1="lt1" tx1="dk1" bg2="lt2" tx2="dk2" accent1="accent1" accent2="accent2" accent3="accent3" accent4="accent4" accent5="accent5" accent6="accent6" hlink="hlink" folHlink="folHlink"/>
  <p:sldLayoutIdLst>
    <p:sldLayoutId id="2147483689" r:id="rId1"/>
    <p:sldLayoutId id="2147483688" r:id="rId2"/>
    <p:sldLayoutId id="2147483690" r:id="rId3"/>
    <p:sldLayoutId id="2147483691" r:id="rId4"/>
    <p:sldLayoutId id="2147483692" r:id="rId5"/>
    <p:sldLayoutId id="2147483841" r:id="rId6"/>
    <p:sldLayoutId id="214748384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814" r:id="rId28"/>
    <p:sldLayoutId id="2147483815" r:id="rId29"/>
    <p:sldLayoutId id="2147483665" r:id="rId30"/>
    <p:sldLayoutId id="2147483954" r:id="rId31"/>
    <p:sldLayoutId id="2147483955" r:id="rId32"/>
    <p:sldLayoutId id="2147483956" r:id="rId33"/>
    <p:sldLayoutId id="2147483960" r:id="rId34"/>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62346A-59C0-4B76-869B-57705FEBB4F3}"/>
              </a:ext>
            </a:extLst>
          </p:cNvPr>
          <p:cNvGraphicFramePr>
            <a:graphicFrameLocks noChangeAspect="1"/>
          </p:cNvGraphicFramePr>
          <p:nvPr userDrawn="1">
            <p:custDataLst>
              <p:tags r:id="rId13"/>
            </p:custDataLst>
            <p:extLst>
              <p:ext uri="{D42A27DB-BD31-4B8C-83A1-F6EECF244321}">
                <p14:modId xmlns:p14="http://schemas.microsoft.com/office/powerpoint/2010/main" val="175897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73" imgH="476" progId="TCLayout.ActiveDocument.1">
                  <p:embed/>
                </p:oleObj>
              </mc:Choice>
              <mc:Fallback>
                <p:oleObj name="think-cell スライド" r:id="rId14" imgW="473" imgH="476" progId="TCLayout.ActiveDocument.1">
                  <p:embed/>
                  <p:pic>
                    <p:nvPicPr>
                      <p:cNvPr id="5" name="think-cell data - do not delete" hidden="1">
                        <a:extLst>
                          <a:ext uri="{FF2B5EF4-FFF2-40B4-BE49-F238E27FC236}">
                            <a16:creationId xmlns:a16="http://schemas.microsoft.com/office/drawing/2014/main" id="{2862346A-59C0-4B76-869B-57705FEBB4F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pic>
        <p:nvPicPr>
          <p:cNvPr id="4" name="図 3">
            <a:extLst>
              <a:ext uri="{FF2B5EF4-FFF2-40B4-BE49-F238E27FC236}">
                <a16:creationId xmlns:a16="http://schemas.microsoft.com/office/drawing/2014/main" id="{421859AB-0EFB-837E-364A-A507A1723E18}"/>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spTree>
    <p:extLst>
      <p:ext uri="{BB962C8B-B14F-4D97-AF65-F5344CB8AC3E}">
        <p14:creationId xmlns:p14="http://schemas.microsoft.com/office/powerpoint/2010/main" val="1361022665"/>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5" r:id="rId9"/>
    <p:sldLayoutId id="2147483906" r:id="rId10"/>
    <p:sldLayoutId id="2147483907" r:id="rId11"/>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820A412-44D1-0690-24EE-31C509F39DB5}"/>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86553"/>
          </a:xfrm>
          <a:prstGeom prst="rect">
            <a:avLst/>
          </a:prstGeom>
        </p:spPr>
        <p:txBody>
          <a:bodyPr wrap="square" lIns="0" tIns="0" rIns="0" bIns="0">
            <a:spAutoFit/>
          </a:bodyPr>
          <a:lstStyle>
            <a:lvl1pPr>
              <a:defRPr b="0" i="0">
                <a:solidFill>
                  <a:schemeClr val="tx1"/>
                </a:solidFill>
              </a:defRPr>
            </a:lvl1pPr>
          </a:lstStyle>
          <a:p>
            <a:endParaRPr/>
          </a:p>
        </p:txBody>
      </p:sp>
      <p:sp>
        <p:nvSpPr>
          <p:cNvPr id="7" name="スライド番号">
            <a:extLst>
              <a:ext uri="{FF2B5EF4-FFF2-40B4-BE49-F238E27FC236}">
                <a16:creationId xmlns:a16="http://schemas.microsoft.com/office/drawing/2014/main" id="{F7A32C09-B6B1-2BD1-507E-CC2C24FB92C7}"/>
              </a:ext>
            </a:extLst>
          </p:cNvPr>
          <p:cNvSpPr txBox="1">
            <a:spLocks/>
          </p:cNvSpPr>
          <p:nvPr userDrawn="1"/>
        </p:nvSpPr>
        <p:spPr>
          <a:xfrm>
            <a:off x="9204960" y="6540123"/>
            <a:ext cx="2743200" cy="153888"/>
          </a:xfrm>
          <a:prstGeom prst="rect">
            <a:avLst/>
          </a:prstGeom>
        </p:spPr>
        <p:txBody>
          <a:bodyPr vert="horz" lIns="91440" tIns="45720" rIns="91440" bIns="45720" rtlCol="0" anchor="ctr"/>
          <a:lstStyle>
            <a:defPPr>
              <a:defRPr kern="0"/>
            </a:defPPr>
            <a:lvl1pPr algn="r">
              <a:defRPr sz="1000" b="0" i="0" baseline="0">
                <a:solidFill>
                  <a:schemeClr val="bg1"/>
                </a:solidFill>
                <a:latin typeface="Segoe UI" panose="020B0502040204020203" pitchFamily="34" charset="0"/>
                <a:ea typeface="Meiryo UI" panose="020B0604030504040204" pitchFamily="50" charset="-128"/>
                <a:cs typeface="Segoe UI" panose="020B0502040204020203" pitchFamily="34" charset="0"/>
              </a:defRPr>
            </a:lvl1pPr>
          </a:lstStyle>
          <a:p>
            <a:fld id="{F42E2762-5E21-CA47-A210-C83F7DE8B3E4}" type="slidenum">
              <a:rPr kumimoji="1" lang="ja-JP" altLang="en-US" smtClean="0"/>
              <a:t>‹#›</a:t>
            </a:fld>
            <a:endParaRPr kumimoji="1" lang="ja-JP" altLang="en-US"/>
          </a:p>
        </p:txBody>
      </p:sp>
    </p:spTree>
    <p:extLst>
      <p:ext uri="{BB962C8B-B14F-4D97-AF65-F5344CB8AC3E}">
        <p14:creationId xmlns:p14="http://schemas.microsoft.com/office/powerpoint/2010/main" val="2481465558"/>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Lst>
  <p:hf hdr="0" ftr="0" dt="0"/>
  <p:txStyles>
    <p:titleStyle>
      <a:lvl1pPr>
        <a:defRPr sz="4500" b="1" i="0" cap="none" baseline="0">
          <a:latin typeface="Segoe UI" panose="020B0502040204020203" pitchFamily="34" charset="0"/>
          <a:ea typeface="Meiryo UI" panose="020B0604030504040204" pitchFamily="34" charset="-128"/>
          <a:cs typeface="+mj-cs"/>
        </a:defRPr>
      </a:lvl1pPr>
    </p:titleStyle>
    <p:bodyStyle>
      <a:lvl1pPr marL="14400">
        <a:lnSpc>
          <a:spcPct val="130000"/>
        </a:lnSpc>
        <a:spcBef>
          <a:spcPts val="100"/>
        </a:spcBef>
        <a:defRPr sz="1600" b="0" i="0" baseline="0">
          <a:latin typeface="Segoe UI" panose="020B0502040204020203" pitchFamily="34" charset="0"/>
          <a:ea typeface="Meiryo UI" panose="020B0604030504040204"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8CF4B97-EEF7-9B84-77C7-3518FC44C9F0}"/>
              </a:ext>
            </a:extLst>
          </p:cNvPr>
          <p:cNvGraphicFramePr>
            <a:graphicFrameLocks noChangeAspect="1"/>
          </p:cNvGraphicFramePr>
          <p:nvPr userDrawn="1">
            <p:custDataLst>
              <p:tags r:id="rId15"/>
            </p:custDataLst>
            <p:extLst>
              <p:ext uri="{D42A27DB-BD31-4B8C-83A1-F6EECF244321}">
                <p14:modId xmlns:p14="http://schemas.microsoft.com/office/powerpoint/2010/main" val="126269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473" imgH="476" progId="TCLayout.ActiveDocument.1">
                  <p:embed/>
                </p:oleObj>
              </mc:Choice>
              <mc:Fallback>
                <p:oleObj name="think-cell スライド" r:id="rId16" imgW="473" imgH="476" progId="TCLayout.ActiveDocument.1">
                  <p:embed/>
                  <p:pic>
                    <p:nvPicPr>
                      <p:cNvPr id="4" name="think-cell data - do not delete" hidden="1">
                        <a:extLst>
                          <a:ext uri="{FF2B5EF4-FFF2-40B4-BE49-F238E27FC236}">
                            <a16:creationId xmlns:a16="http://schemas.microsoft.com/office/drawing/2014/main" id="{D8CF4B97-EEF7-9B84-77C7-3518FC44C9F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80718"/>
          </a:xfrm>
          <a:prstGeom prst="rect">
            <a:avLst/>
          </a:prstGeom>
        </p:spPr>
        <p:txBody>
          <a:bodyPr wrap="square" lIns="0" tIns="0" rIns="0" bIns="0">
            <a:spAutoFit/>
          </a:bodyPr>
          <a:lstStyle>
            <a:lvl1pPr>
              <a:defRPr b="0" i="0">
                <a:solidFill>
                  <a:schemeClr val="tx1"/>
                </a:solidFill>
              </a:defRPr>
            </a:lvl1pPr>
          </a:lstStyle>
          <a:p>
            <a:endParaRPr/>
          </a:p>
        </p:txBody>
      </p:sp>
      <p:sp>
        <p:nvSpPr>
          <p:cNvPr id="13" name="スライド番号">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stStyle>
          <a:p>
            <a:fld id="{34A25005-A456-2C43-92D8-007A27047B97}" type="slidenum">
              <a:rPr kumimoji="1" lang="ja-JP" altLang="en-US" smtClean="0"/>
              <a:pPr/>
              <a:t>‹#›</a:t>
            </a:fld>
            <a:endParaRPr kumimoji="1" lang="ja-JP" altLang="en-US"/>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pic>
        <p:nvPicPr>
          <p:cNvPr id="5" name="図 4">
            <a:extLst>
              <a:ext uri="{FF2B5EF4-FFF2-40B4-BE49-F238E27FC236}">
                <a16:creationId xmlns:a16="http://schemas.microsoft.com/office/drawing/2014/main" id="{2820A412-44D1-0690-24EE-31C509F39DB5}"/>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Tree>
    <p:extLst>
      <p:ext uri="{BB962C8B-B14F-4D97-AF65-F5344CB8AC3E}">
        <p14:creationId xmlns:p14="http://schemas.microsoft.com/office/powerpoint/2010/main" val="4290510693"/>
      </p:ext>
    </p:extLst>
  </p:cSld>
  <p:clrMap bg1="lt1" tx1="dk1" bg2="lt2" tx2="dk2" accent1="accent1" accent2="accent2" accent3="accent3" accent4="accent4" accent5="accent5" accent6="accent6" hlink="hlink" folHlink="folHlink"/>
  <p:sldLayoutIdLst>
    <p:sldLayoutId id="2147483926" r:id="rId1"/>
    <p:sldLayoutId id="2147483927" r:id="rId2"/>
    <p:sldLayoutId id="2147483928" r:id="rId3"/>
    <p:sldLayoutId id="2147483929" r:id="rId4"/>
    <p:sldLayoutId id="2147483930" r:id="rId5"/>
    <p:sldLayoutId id="2147483931" r:id="rId6"/>
    <p:sldLayoutId id="2147483932" r:id="rId7"/>
    <p:sldLayoutId id="2147483933" r:id="rId8"/>
    <p:sldLayoutId id="2147483934" r:id="rId9"/>
    <p:sldLayoutId id="2147483935" r:id="rId10"/>
    <p:sldLayoutId id="2147483936" r:id="rId11"/>
    <p:sldLayoutId id="2147483937" r:id="rId12"/>
    <p:sldLayoutId id="2147483938" r:id="rId13"/>
  </p:sldLayoutIdLst>
  <p:hf hdr="0" ftr="0" dt="0"/>
  <p:txStyles>
    <p:titleStyle>
      <a:lvl1pPr>
        <a:defRPr b="1" i="0">
          <a:latin typeface="Meiryo UI" panose="020B0604030504040204" pitchFamily="34" charset="-128"/>
          <a:ea typeface="Meiryo UI" panose="020B0604030504040204" pitchFamily="34" charset="-128"/>
          <a:cs typeface="+mj-cs"/>
        </a:defRPr>
      </a:lvl1pPr>
    </p:titleStyle>
    <p:bodyStyle>
      <a:lvl1pPr marL="14400">
        <a:lnSpc>
          <a:spcPct val="130000"/>
        </a:lnSpc>
        <a:spcBef>
          <a:spcPts val="100"/>
        </a:spcBef>
        <a:defRPr sz="1600" b="0" i="0">
          <a:latin typeface="Meiryo UI" panose="020B0604030504040204" pitchFamily="34" charset="-128"/>
          <a:ea typeface="Meiryo UI" panose="020B0604030504040204"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0CFFB4-D9B2-41D8-B855-562996241436}"/>
              </a:ext>
            </a:extLst>
          </p:cNvPr>
          <p:cNvGraphicFramePr>
            <a:graphicFrameLocks noChangeAspect="1"/>
          </p:cNvGraphicFramePr>
          <p:nvPr userDrawn="1">
            <p:custDataLst>
              <p:tags r:id="rId15"/>
            </p:custDataLst>
            <p:extLst>
              <p:ext uri="{D42A27DB-BD31-4B8C-83A1-F6EECF244321}">
                <p14:modId xmlns:p14="http://schemas.microsoft.com/office/powerpoint/2010/main" val="231419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473" imgH="476" progId="TCLayout.ActiveDocument.1">
                  <p:embed/>
                </p:oleObj>
              </mc:Choice>
              <mc:Fallback>
                <p:oleObj name="think-cell スライド" r:id="rId16" imgW="473" imgH="476" progId="TCLayout.ActiveDocument.1">
                  <p:embed/>
                  <p:pic>
                    <p:nvPicPr>
                      <p:cNvPr id="4" name="オブジェクト 3" hidden="1">
                        <a:extLst>
                          <a:ext uri="{FF2B5EF4-FFF2-40B4-BE49-F238E27FC236}">
                            <a16:creationId xmlns:a16="http://schemas.microsoft.com/office/drawing/2014/main" id="{1D0CFFB4-D9B2-41D8-B855-56299624143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5" name="図 4">
            <a:extLst>
              <a:ext uri="{FF2B5EF4-FFF2-40B4-BE49-F238E27FC236}">
                <a16:creationId xmlns:a16="http://schemas.microsoft.com/office/drawing/2014/main" id="{2820A412-44D1-0690-24EE-31C509F39DB5}"/>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0" y="6375767"/>
            <a:ext cx="12192000" cy="482600"/>
          </a:xfrm>
          <a:prstGeom prst="rect">
            <a:avLst/>
          </a:prstGeom>
        </p:spPr>
      </p:pic>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86553"/>
          </a:xfrm>
          <a:prstGeom prst="rect">
            <a:avLst/>
          </a:prstGeom>
        </p:spPr>
        <p:txBody>
          <a:bodyPr wrap="square" lIns="0" tIns="0" rIns="0" bIns="0">
            <a:spAutoFit/>
          </a:bodyPr>
          <a:lstStyle>
            <a:lvl1pPr>
              <a:defRPr b="0" i="0">
                <a:solidFill>
                  <a:schemeClr val="tx1"/>
                </a:solidFill>
              </a:defRPr>
            </a:lvl1pPr>
          </a:lstStyle>
          <a:p>
            <a:endParaRPr/>
          </a:p>
        </p:txBody>
      </p:sp>
      <p:sp>
        <p:nvSpPr>
          <p:cNvPr id="7" name="スライド番号">
            <a:extLst>
              <a:ext uri="{FF2B5EF4-FFF2-40B4-BE49-F238E27FC236}">
                <a16:creationId xmlns:a16="http://schemas.microsoft.com/office/drawing/2014/main" id="{F7A32C09-B6B1-2BD1-507E-CC2C24FB92C7}"/>
              </a:ext>
            </a:extLst>
          </p:cNvPr>
          <p:cNvSpPr txBox="1">
            <a:spLocks/>
          </p:cNvSpPr>
          <p:nvPr userDrawn="1"/>
        </p:nvSpPr>
        <p:spPr>
          <a:xfrm>
            <a:off x="9204960" y="6540123"/>
            <a:ext cx="2743200" cy="153888"/>
          </a:xfrm>
          <a:prstGeom prst="rect">
            <a:avLst/>
          </a:prstGeom>
        </p:spPr>
        <p:txBody>
          <a:bodyPr vert="horz" lIns="91440" tIns="45720" rIns="91440" bIns="45720" rtlCol="0" anchor="ctr"/>
          <a:lstStyle>
            <a:defPPr>
              <a:defRPr kern="0"/>
            </a:defPPr>
            <a:lvl1pPr algn="r">
              <a:defRPr sz="1000" b="0" i="0" baseline="0">
                <a:solidFill>
                  <a:schemeClr val="bg1"/>
                </a:solidFill>
                <a:latin typeface="Segoe UI" panose="020B0502040204020203" pitchFamily="34" charset="0"/>
                <a:ea typeface="Meiryo UI" panose="020B0604030504040204" pitchFamily="50" charset="-128"/>
                <a:cs typeface="Segoe UI" panose="020B0502040204020203" pitchFamily="34" charset="0"/>
              </a:defRPr>
            </a:lvl1pPr>
          </a:lstStyle>
          <a:p>
            <a:fld id="{F42E2762-5E21-CA47-A210-C83F7DE8B3E4}" type="slidenum">
              <a:rPr kumimoji="1" lang="ja-JP" altLang="en-US" smtClean="0"/>
              <a:t>‹#›</a:t>
            </a:fld>
            <a:endParaRPr kumimoji="1" lang="ja-JP" altLang="en-US"/>
          </a:p>
        </p:txBody>
      </p:sp>
    </p:spTree>
    <p:extLst>
      <p:ext uri="{BB962C8B-B14F-4D97-AF65-F5344CB8AC3E}">
        <p14:creationId xmlns:p14="http://schemas.microsoft.com/office/powerpoint/2010/main" val="4198145379"/>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Lst>
  <p:hf sldNum="0" hdr="0" ftr="0" dt="0"/>
  <p:txStyles>
    <p:titleStyle>
      <a:lvl1pPr>
        <a:defRPr sz="4500" b="1" i="0" cap="none" baseline="0">
          <a:latin typeface="Segoe UI" panose="020B0502040204020203" pitchFamily="34" charset="0"/>
          <a:ea typeface="Meiryo UI" panose="020B0604030504040204" pitchFamily="34" charset="-128"/>
          <a:cs typeface="+mj-cs"/>
        </a:defRPr>
      </a:lvl1pPr>
    </p:titleStyle>
    <p:bodyStyle>
      <a:lvl1pPr marL="14400">
        <a:lnSpc>
          <a:spcPct val="130000"/>
        </a:lnSpc>
        <a:spcBef>
          <a:spcPts val="100"/>
        </a:spcBef>
        <a:defRPr sz="1600" b="0" i="0" baseline="0">
          <a:latin typeface="Segoe UI" panose="020B0502040204020203" pitchFamily="34" charset="0"/>
          <a:ea typeface="Meiryo UI" panose="020B0604030504040204"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3B01427-0FC2-49EA-9602-953E16943BA5}"/>
              </a:ext>
            </a:extLst>
          </p:cNvPr>
          <p:cNvGraphicFramePr>
            <a:graphicFrameLocks noChangeAspect="1"/>
          </p:cNvGraphicFramePr>
          <p:nvPr userDrawn="1">
            <p:custDataLst>
              <p:tags r:id="rId35"/>
            </p:custDataLst>
            <p:extLst>
              <p:ext uri="{D42A27DB-BD31-4B8C-83A1-F6EECF244321}">
                <p14:modId xmlns:p14="http://schemas.microsoft.com/office/powerpoint/2010/main" val="183847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6" imgW="473" imgH="476" progId="TCLayout.ActiveDocument.1">
                  <p:embed/>
                </p:oleObj>
              </mc:Choice>
              <mc:Fallback>
                <p:oleObj name="think-cell スライド" r:id="rId36" imgW="473" imgH="476" progId="TCLayout.ActiveDocument.1">
                  <p:embed/>
                  <p:pic>
                    <p:nvPicPr>
                      <p:cNvPr id="4" name="think-cell data - do not delete" hidden="1">
                        <a:extLst>
                          <a:ext uri="{FF2B5EF4-FFF2-40B4-BE49-F238E27FC236}">
                            <a16:creationId xmlns:a16="http://schemas.microsoft.com/office/drawing/2014/main" id="{93B01427-0FC2-49EA-9602-953E16943BA5}"/>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vert="horz" wrap="square" lIns="0" tIns="0" rIns="0" bIns="0">
            <a:spAutoFit/>
          </a:bodyPr>
          <a:lstStyle>
            <a:lvl1pPr>
              <a:defRPr sz="4500" b="0" i="0">
                <a:solidFill>
                  <a:srgbClr val="005295"/>
                </a:solidFill>
                <a:latin typeface="YuGothicStd-L"/>
                <a:cs typeface="YuGothicStd-L"/>
              </a:defRPr>
            </a:lvl1pPr>
          </a:lstStyle>
          <a:p>
            <a:r>
              <a:rPr lang="en-US" altLang="ja-JP"/>
              <a:t>Title</a:t>
            </a:r>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r>
              <a:rPr lang="en-US"/>
              <a:t>sample text</a:t>
            </a:r>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stStyle>
          <a:p>
            <a:fld id="{34A25005-A456-2C43-92D8-007A27047B97}" type="slidenum">
              <a:rPr kumimoji="1" lang="ja-JP" altLang="en-US" smtClean="0"/>
              <a:pPr/>
              <a:t>‹#›</a:t>
            </a:fld>
            <a:endParaRPr kumimoji="1" lang="ja-JP" altLang="en-US"/>
          </a:p>
        </p:txBody>
      </p:sp>
      <p:pic>
        <p:nvPicPr>
          <p:cNvPr id="6" name="図 5">
            <a:extLst>
              <a:ext uri="{FF2B5EF4-FFF2-40B4-BE49-F238E27FC236}">
                <a16:creationId xmlns:a16="http://schemas.microsoft.com/office/drawing/2014/main" id="{D1CC5074-66BA-259C-778A-267286160414}"/>
              </a:ext>
            </a:extLst>
          </p:cNvPr>
          <p:cNvPicPr>
            <a:picLocks noChangeAspect="1"/>
          </p:cNvPicPr>
          <p:nvPr userDrawn="1"/>
        </p:nvPicPr>
        <p:blipFill>
          <a:blip r:embed="rId38"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spTree>
    <p:extLst>
      <p:ext uri="{BB962C8B-B14F-4D97-AF65-F5344CB8AC3E}">
        <p14:creationId xmlns:p14="http://schemas.microsoft.com/office/powerpoint/2010/main" val="2552297240"/>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843" r:id="rId6"/>
    <p:sldLayoutId id="2147483844" r:id="rId7"/>
    <p:sldLayoutId id="2147483724" r:id="rId8"/>
    <p:sldLayoutId id="2147483725" r:id="rId9"/>
    <p:sldLayoutId id="2147483726" r:id="rId10"/>
    <p:sldLayoutId id="2147483745"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37" r:id="rId21"/>
    <p:sldLayoutId id="2147483738" r:id="rId22"/>
    <p:sldLayoutId id="2147483739" r:id="rId23"/>
    <p:sldLayoutId id="2147483740" r:id="rId24"/>
    <p:sldLayoutId id="2147483741" r:id="rId25"/>
    <p:sldLayoutId id="2147483742" r:id="rId26"/>
    <p:sldLayoutId id="2147483743" r:id="rId27"/>
    <p:sldLayoutId id="2147483816" r:id="rId28"/>
    <p:sldLayoutId id="2147483817" r:id="rId29"/>
    <p:sldLayoutId id="2147483744" r:id="rId30"/>
    <p:sldLayoutId id="2147483957" r:id="rId31"/>
    <p:sldLayoutId id="2147483958" r:id="rId32"/>
    <p:sldLayoutId id="2147483959" r:id="rId33"/>
  </p:sldLayoutIdLst>
  <p:hf hdr="0" ftr="0" dt="0"/>
  <p:txStyles>
    <p:titleStyle>
      <a:lvl1pPr>
        <a:defRPr b="0" i="0">
          <a:latin typeface="Segoe UI" panose="020B0502040204020203" pitchFamily="34" charset="0"/>
          <a:ea typeface="Yu Gothic" panose="020B0400000000000000" pitchFamily="34" charset="-128"/>
          <a:cs typeface="Segoe UI" panose="020B0502040204020203" pitchFamily="34" charset="0"/>
        </a:defRPr>
      </a:lvl1pPr>
    </p:titleStyle>
    <p:bodyStyle>
      <a:lvl1pPr marL="14400">
        <a:lnSpc>
          <a:spcPct val="130000"/>
        </a:lnSpc>
        <a:spcBef>
          <a:spcPts val="100"/>
        </a:spcBef>
        <a:defRPr sz="1600" b="0" i="0">
          <a:latin typeface="Segoe UI" panose="020B0502040204020203" pitchFamily="34" charset="0"/>
          <a:ea typeface="Yu Gothic Medium" panose="020B0400000000000000" pitchFamily="34" charset="-128"/>
          <a:cs typeface="Segoe UI" panose="020B0502040204020203"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7C0A52D-99D6-4A30-B01F-0185E42C7A81}"/>
              </a:ext>
            </a:extLst>
          </p:cNvPr>
          <p:cNvGraphicFramePr>
            <a:graphicFrameLocks noChangeAspect="1"/>
          </p:cNvGraphicFramePr>
          <p:nvPr userDrawn="1">
            <p:custDataLst>
              <p:tags r:id="rId11"/>
            </p:custDataLst>
            <p:extLst>
              <p:ext uri="{D42A27DB-BD31-4B8C-83A1-F6EECF244321}">
                <p14:modId xmlns:p14="http://schemas.microsoft.com/office/powerpoint/2010/main" val="363184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473" imgH="476" progId="TCLayout.ActiveDocument.1">
                  <p:embed/>
                </p:oleObj>
              </mc:Choice>
              <mc:Fallback>
                <p:oleObj name="think-cell スライド" r:id="rId12" imgW="473" imgH="476" progId="TCLayout.ActiveDocument.1">
                  <p:embed/>
                  <p:pic>
                    <p:nvPicPr>
                      <p:cNvPr id="6" name="think-cell data - do not delete" hidden="1">
                        <a:extLst>
                          <a:ext uri="{FF2B5EF4-FFF2-40B4-BE49-F238E27FC236}">
                            <a16:creationId xmlns:a16="http://schemas.microsoft.com/office/drawing/2014/main" id="{07C0A52D-99D6-4A30-B01F-0185E42C7A81}"/>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pic>
        <p:nvPicPr>
          <p:cNvPr id="4" name="図 3">
            <a:extLst>
              <a:ext uri="{FF2B5EF4-FFF2-40B4-BE49-F238E27FC236}">
                <a16:creationId xmlns:a16="http://schemas.microsoft.com/office/drawing/2014/main" id="{421859AB-0EFB-837E-364A-A507A1723E18}"/>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spTree>
    <p:extLst>
      <p:ext uri="{BB962C8B-B14F-4D97-AF65-F5344CB8AC3E}">
        <p14:creationId xmlns:p14="http://schemas.microsoft.com/office/powerpoint/2010/main" val="1265165505"/>
      </p:ext>
    </p:extLst>
  </p:cSld>
  <p:clrMap bg1="lt1" tx1="dk1" bg2="lt2" tx2="dk2" accent1="accent1" accent2="accent2" accent3="accent3" accent4="accent4" accent5="accent5" accent6="accent6" hlink="hlink" folHlink="folHlink"/>
  <p:sldLayoutIdLst>
    <p:sldLayoutId id="2147483839" r:id="rId1"/>
    <p:sldLayoutId id="2147483752" r:id="rId2"/>
    <p:sldLayoutId id="2147483753" r:id="rId3"/>
    <p:sldLayoutId id="2147483818" r:id="rId4"/>
    <p:sldLayoutId id="2147483819" r:id="rId5"/>
    <p:sldLayoutId id="2147483772" r:id="rId6"/>
    <p:sldLayoutId id="2147483908" r:id="rId7"/>
    <p:sldLayoutId id="2147483909" r:id="rId8"/>
    <p:sldLayoutId id="2147483910" r:id="rId9"/>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619" userDrawn="1">
          <p15:clr>
            <a:srgbClr val="F26B43"/>
          </p15:clr>
        </p15:guide>
        <p15:guide id="4" pos="7061"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AB5F4AF-6AC7-4A83-AABF-38529253AC90}"/>
              </a:ext>
            </a:extLst>
          </p:cNvPr>
          <p:cNvGraphicFramePr>
            <a:graphicFrameLocks noChangeAspect="1"/>
          </p:cNvGraphicFramePr>
          <p:nvPr userDrawn="1">
            <p:custDataLst>
              <p:tags r:id="rId8"/>
            </p:custDataLst>
            <p:extLst>
              <p:ext uri="{D42A27DB-BD31-4B8C-83A1-F6EECF244321}">
                <p14:modId xmlns:p14="http://schemas.microsoft.com/office/powerpoint/2010/main" val="11226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9" imgW="473" imgH="476" progId="TCLayout.ActiveDocument.1">
                  <p:embed/>
                </p:oleObj>
              </mc:Choice>
              <mc:Fallback>
                <p:oleObj name="think-cell スライド" r:id="rId9" imgW="473" imgH="476" progId="TCLayout.ActiveDocument.1">
                  <p:embed/>
                  <p:pic>
                    <p:nvPicPr>
                      <p:cNvPr id="5" name="think-cell data - do not delete" hidden="1">
                        <a:extLst>
                          <a:ext uri="{FF2B5EF4-FFF2-40B4-BE49-F238E27FC236}">
                            <a16:creationId xmlns:a16="http://schemas.microsoft.com/office/drawing/2014/main" id="{4AB5F4AF-6AC7-4A83-AABF-38529253AC9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stStyle>
          <a:p>
            <a:fld id="{34A25005-A456-2C43-92D8-007A27047B97}" type="slidenum">
              <a:rPr kumimoji="1" lang="ja-JP" altLang="en-US" smtClean="0"/>
              <a:pPr/>
              <a:t>‹#›</a:t>
            </a:fld>
            <a:endParaRPr kumimoji="1" lang="ja-JP" altLang="en-US"/>
          </a:p>
        </p:txBody>
      </p:sp>
      <p:pic>
        <p:nvPicPr>
          <p:cNvPr id="6" name="図 5">
            <a:extLst>
              <a:ext uri="{FF2B5EF4-FFF2-40B4-BE49-F238E27FC236}">
                <a16:creationId xmlns:a16="http://schemas.microsoft.com/office/drawing/2014/main" id="{F189A742-E75F-E201-917F-9B9B40280F0D}"/>
              </a:ext>
            </a:extLst>
          </p:cNvPr>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spTree>
    <p:extLst>
      <p:ext uri="{BB962C8B-B14F-4D97-AF65-F5344CB8AC3E}">
        <p14:creationId xmlns:p14="http://schemas.microsoft.com/office/powerpoint/2010/main" val="1866793049"/>
      </p:ext>
    </p:extLst>
  </p:cSld>
  <p:clrMap bg1="lt1" tx1="dk1" bg2="lt2" tx2="dk2" accent1="accent1" accent2="accent2" accent3="accent3" accent4="accent4" accent5="accent5" accent6="accent6" hlink="hlink" folHlink="folHlink"/>
  <p:sldLayoutIdLst>
    <p:sldLayoutId id="2147483838" r:id="rId1"/>
    <p:sldLayoutId id="2147483775" r:id="rId2"/>
    <p:sldLayoutId id="2147483776" r:id="rId3"/>
    <p:sldLayoutId id="2147483820" r:id="rId4"/>
    <p:sldLayoutId id="2147483821" r:id="rId5"/>
    <p:sldLayoutId id="2147483777" r:id="rId6"/>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619" userDrawn="1">
          <p15:clr>
            <a:srgbClr val="F26B43"/>
          </p15:clr>
        </p15:guide>
        <p15:guide id="4" pos="7061"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62346A-59C0-4B76-869B-57705FEBB4F3}"/>
              </a:ext>
            </a:extLst>
          </p:cNvPr>
          <p:cNvGraphicFramePr>
            <a:graphicFrameLocks noChangeAspect="1"/>
          </p:cNvGraphicFramePr>
          <p:nvPr userDrawn="1">
            <p:custDataLst>
              <p:tags r:id="rId11"/>
            </p:custDataLst>
            <p:extLst>
              <p:ext uri="{D42A27DB-BD31-4B8C-83A1-F6EECF244321}">
                <p14:modId xmlns:p14="http://schemas.microsoft.com/office/powerpoint/2010/main" val="175897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473" imgH="476" progId="TCLayout.ActiveDocument.1">
                  <p:embed/>
                </p:oleObj>
              </mc:Choice>
              <mc:Fallback>
                <p:oleObj name="think-cell スライド" r:id="rId12" imgW="473" imgH="476" progId="TCLayout.ActiveDocument.1">
                  <p:embed/>
                  <p:pic>
                    <p:nvPicPr>
                      <p:cNvPr id="5" name="think-cell data - do not delete" hidden="1">
                        <a:extLst>
                          <a:ext uri="{FF2B5EF4-FFF2-40B4-BE49-F238E27FC236}">
                            <a16:creationId xmlns:a16="http://schemas.microsoft.com/office/drawing/2014/main" id="{2862346A-59C0-4B76-869B-57705FEBB4F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pic>
        <p:nvPicPr>
          <p:cNvPr id="4" name="図 3">
            <a:extLst>
              <a:ext uri="{FF2B5EF4-FFF2-40B4-BE49-F238E27FC236}">
                <a16:creationId xmlns:a16="http://schemas.microsoft.com/office/drawing/2014/main" id="{421859AB-0EFB-837E-364A-A507A1723E18}"/>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spTree>
    <p:extLst>
      <p:ext uri="{BB962C8B-B14F-4D97-AF65-F5344CB8AC3E}">
        <p14:creationId xmlns:p14="http://schemas.microsoft.com/office/powerpoint/2010/main" val="2304194792"/>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4" r:id="rId7"/>
    <p:sldLayoutId id="2147483855" r:id="rId8"/>
    <p:sldLayoutId id="2147483856" r:id="rId9"/>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62346A-59C0-4B76-869B-57705FEBB4F3}"/>
              </a:ext>
            </a:extLst>
          </p:cNvPr>
          <p:cNvGraphicFramePr>
            <a:graphicFrameLocks noChangeAspect="1"/>
          </p:cNvGraphicFramePr>
          <p:nvPr userDrawn="1">
            <p:custDataLst>
              <p:tags r:id="rId9"/>
            </p:custDataLst>
            <p:extLst>
              <p:ext uri="{D42A27DB-BD31-4B8C-83A1-F6EECF244321}">
                <p14:modId xmlns:p14="http://schemas.microsoft.com/office/powerpoint/2010/main" val="175897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473" imgH="476" progId="TCLayout.ActiveDocument.1">
                  <p:embed/>
                </p:oleObj>
              </mc:Choice>
              <mc:Fallback>
                <p:oleObj name="think-cell スライド" r:id="rId10" imgW="473" imgH="476" progId="TCLayout.ActiveDocument.1">
                  <p:embed/>
                  <p:pic>
                    <p:nvPicPr>
                      <p:cNvPr id="5" name="think-cell data - do not delete" hidden="1">
                        <a:extLst>
                          <a:ext uri="{FF2B5EF4-FFF2-40B4-BE49-F238E27FC236}">
                            <a16:creationId xmlns:a16="http://schemas.microsoft.com/office/drawing/2014/main" id="{2862346A-59C0-4B76-869B-57705FEBB4F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spTree>
    <p:extLst>
      <p:ext uri="{BB962C8B-B14F-4D97-AF65-F5344CB8AC3E}">
        <p14:creationId xmlns:p14="http://schemas.microsoft.com/office/powerpoint/2010/main" val="19448841"/>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62346A-59C0-4B76-869B-57705FEBB4F3}"/>
              </a:ext>
            </a:extLst>
          </p:cNvPr>
          <p:cNvGraphicFramePr>
            <a:graphicFrameLocks noChangeAspect="1"/>
          </p:cNvGraphicFramePr>
          <p:nvPr userDrawn="1">
            <p:custDataLst>
              <p:tags r:id="rId10"/>
            </p:custDataLst>
            <p:extLst>
              <p:ext uri="{D42A27DB-BD31-4B8C-83A1-F6EECF244321}">
                <p14:modId xmlns:p14="http://schemas.microsoft.com/office/powerpoint/2010/main" val="175897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1" imgW="473" imgH="476" progId="TCLayout.ActiveDocument.1">
                  <p:embed/>
                </p:oleObj>
              </mc:Choice>
              <mc:Fallback>
                <p:oleObj name="think-cell スライド" r:id="rId11" imgW="473" imgH="476" progId="TCLayout.ActiveDocument.1">
                  <p:embed/>
                  <p:pic>
                    <p:nvPicPr>
                      <p:cNvPr id="5" name="think-cell data - do not delete" hidden="1">
                        <a:extLst>
                          <a:ext uri="{FF2B5EF4-FFF2-40B4-BE49-F238E27FC236}">
                            <a16:creationId xmlns:a16="http://schemas.microsoft.com/office/drawing/2014/main" id="{2862346A-59C0-4B76-869B-57705FEBB4F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pic>
        <p:nvPicPr>
          <p:cNvPr id="4" name="図 3">
            <a:extLst>
              <a:ext uri="{FF2B5EF4-FFF2-40B4-BE49-F238E27FC236}">
                <a16:creationId xmlns:a16="http://schemas.microsoft.com/office/drawing/2014/main" id="{421859AB-0EFB-837E-364A-A507A1723E18}"/>
              </a:ext>
            </a:extLst>
          </p:cNvPr>
          <p:cNvPicPr>
            <a:picLocks noChangeAspect="1"/>
          </p:cNvPicPr>
          <p:nvPr userDrawn="1"/>
        </p:nvPicPr>
        <p:blipFill>
          <a:blip r:embed="rId13"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spTree>
    <p:extLst>
      <p:ext uri="{BB962C8B-B14F-4D97-AF65-F5344CB8AC3E}">
        <p14:creationId xmlns:p14="http://schemas.microsoft.com/office/powerpoint/2010/main" val="2038301770"/>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862346A-59C0-4B76-869B-57705FEBB4F3}"/>
              </a:ext>
            </a:extLst>
          </p:cNvPr>
          <p:cNvGraphicFramePr>
            <a:graphicFrameLocks noChangeAspect="1"/>
          </p:cNvGraphicFramePr>
          <p:nvPr userDrawn="1">
            <p:custDataLst>
              <p:tags r:id="rId9"/>
            </p:custDataLst>
            <p:extLst>
              <p:ext uri="{D42A27DB-BD31-4B8C-83A1-F6EECF244321}">
                <p14:modId xmlns:p14="http://schemas.microsoft.com/office/powerpoint/2010/main" val="175897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473" imgH="476" progId="TCLayout.ActiveDocument.1">
                  <p:embed/>
                </p:oleObj>
              </mc:Choice>
              <mc:Fallback>
                <p:oleObj name="think-cell スライド" r:id="rId10" imgW="473" imgH="476" progId="TCLayout.ActiveDocument.1">
                  <p:embed/>
                  <p:pic>
                    <p:nvPicPr>
                      <p:cNvPr id="5" name="think-cell data - do not delete" hidden="1">
                        <a:extLst>
                          <a:ext uri="{FF2B5EF4-FFF2-40B4-BE49-F238E27FC236}">
                            <a16:creationId xmlns:a16="http://schemas.microsoft.com/office/drawing/2014/main" id="{2862346A-59C0-4B76-869B-57705FEBB4F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wrap="square" lIns="0" tIns="0" rIns="0" bIns="0">
            <a:spAutoFit/>
          </a:bodyPr>
          <a:lstStyle>
            <a:lvl1pPr>
              <a:defRPr sz="4500" b="0" i="0">
                <a:solidFill>
                  <a:srgbClr val="005295"/>
                </a:solidFill>
                <a:latin typeface="YuGothicStd-L"/>
                <a:cs typeface="YuGothicStd-L"/>
              </a:defRPr>
            </a:lvl1pPr>
          </a:lstStyle>
          <a:p>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Yu Gothic Medium" panose="020B0400000000000000" pitchFamily="34" charset="-128"/>
                <a:ea typeface="Yu Gothic Medium" panose="020B0400000000000000" pitchFamily="34" charset="-128"/>
                <a:cs typeface="Arial" panose="020B0604020202020204" pitchFamily="34" charset="0"/>
              </a:defRPr>
            </a:lvl1pPr>
          </a:lstStyle>
          <a:p>
            <a:fld id="{34A25005-A456-2C43-92D8-007A27047B97}" type="slidenum">
              <a:rPr kumimoji="1" lang="ja-JP" altLang="en-US" smtClean="0"/>
              <a:pPr/>
              <a:t>‹#›</a:t>
            </a:fld>
            <a:endParaRPr kumimoji="1" lang="ja-JP" altLang="en-US"/>
          </a:p>
        </p:txBody>
      </p:sp>
      <p:pic>
        <p:nvPicPr>
          <p:cNvPr id="4" name="図 3">
            <a:extLst>
              <a:ext uri="{FF2B5EF4-FFF2-40B4-BE49-F238E27FC236}">
                <a16:creationId xmlns:a16="http://schemas.microsoft.com/office/drawing/2014/main" id="{421859AB-0EFB-837E-364A-A507A1723E18}"/>
              </a:ext>
            </a:extLst>
          </p:cNvPr>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0" y="6375767"/>
            <a:ext cx="12192000" cy="482600"/>
          </a:xfrm>
          <a:prstGeom prst="rect">
            <a:avLst/>
          </a:prstGeom>
        </p:spPr>
      </p:pic>
    </p:spTree>
    <p:extLst>
      <p:ext uri="{BB962C8B-B14F-4D97-AF65-F5344CB8AC3E}">
        <p14:creationId xmlns:p14="http://schemas.microsoft.com/office/powerpoint/2010/main" val="1526328834"/>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Lst>
  <p:hf hdr="0" ftr="0" dt="0"/>
  <p:txStyles>
    <p:titleStyle>
      <a:lvl1pPr>
        <a:defRPr b="0" i="0">
          <a:latin typeface="Yu Gothic Medium" panose="020B0400000000000000" pitchFamily="34" charset="-128"/>
          <a:ea typeface="Yu Gothic Medium" panose="020B0400000000000000" pitchFamily="34" charset="-128"/>
          <a:cs typeface="+mj-cs"/>
        </a:defRPr>
      </a:lvl1pPr>
    </p:titleStyle>
    <p:bodyStyle>
      <a:lvl1pPr marL="14400">
        <a:lnSpc>
          <a:spcPct val="130000"/>
        </a:lnSpc>
        <a:spcBef>
          <a:spcPts val="100"/>
        </a:spcBef>
        <a:defRPr sz="1600" b="0" i="0">
          <a:latin typeface="Yu Gothic Medium" panose="020B0400000000000000" pitchFamily="34" charset="-128"/>
          <a:ea typeface="Yu Gothic Medium" panose="020B0400000000000000" pitchFamily="34" charset="-128"/>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565AB18-184D-43B5-8E84-D2AA2BD2513E}"/>
              </a:ext>
            </a:extLst>
          </p:cNvPr>
          <p:cNvGraphicFramePr>
            <a:graphicFrameLocks noChangeAspect="1"/>
          </p:cNvGraphicFramePr>
          <p:nvPr userDrawn="1">
            <p:custDataLst>
              <p:tags r:id="rId15"/>
            </p:custDataLst>
            <p:extLst>
              <p:ext uri="{D42A27DB-BD31-4B8C-83A1-F6EECF244321}">
                <p14:modId xmlns:p14="http://schemas.microsoft.com/office/powerpoint/2010/main" val="96344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6" imgW="473" imgH="476" progId="TCLayout.ActiveDocument.1">
                  <p:embed/>
                </p:oleObj>
              </mc:Choice>
              <mc:Fallback>
                <p:oleObj name="think-cell スライド" r:id="rId16" imgW="473" imgH="476" progId="TCLayout.ActiveDocument.1">
                  <p:embed/>
                  <p:pic>
                    <p:nvPicPr>
                      <p:cNvPr id="5" name="think-cell data - do not delete" hidden="1">
                        <a:extLst>
                          <a:ext uri="{FF2B5EF4-FFF2-40B4-BE49-F238E27FC236}">
                            <a16:creationId xmlns:a16="http://schemas.microsoft.com/office/drawing/2014/main" id="{3565AB18-184D-43B5-8E84-D2AA2BD2513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373085" y="65673"/>
            <a:ext cx="9446260" cy="711200"/>
          </a:xfrm>
          <a:prstGeom prst="rect">
            <a:avLst/>
          </a:prstGeom>
        </p:spPr>
        <p:txBody>
          <a:bodyPr vert="horz" wrap="square" lIns="0" tIns="0" rIns="0" bIns="0">
            <a:spAutoFit/>
          </a:bodyPr>
          <a:lstStyle>
            <a:lvl1pPr>
              <a:defRPr sz="4500" b="0" i="0">
                <a:solidFill>
                  <a:srgbClr val="005295"/>
                </a:solidFill>
                <a:latin typeface="YuGothicStd-L"/>
                <a:cs typeface="YuGothicStd-L"/>
              </a:defRPr>
            </a:lvl1pPr>
          </a:lstStyle>
          <a:p>
            <a:r>
              <a:rPr lang="en-US" altLang="ja-JP"/>
              <a:t>Title</a:t>
            </a:r>
            <a:endParaRPr/>
          </a:p>
        </p:txBody>
      </p:sp>
      <p:sp>
        <p:nvSpPr>
          <p:cNvPr id="3" name="Holder 3"/>
          <p:cNvSpPr>
            <a:spLocks noGrp="1"/>
          </p:cNvSpPr>
          <p:nvPr>
            <p:ph type="body" idx="1"/>
          </p:nvPr>
        </p:nvSpPr>
        <p:spPr>
          <a:xfrm>
            <a:off x="1373085" y="1618919"/>
            <a:ext cx="9446260" cy="296876"/>
          </a:xfrm>
          <a:prstGeom prst="rect">
            <a:avLst/>
          </a:prstGeom>
        </p:spPr>
        <p:txBody>
          <a:bodyPr wrap="square" lIns="0" tIns="0" rIns="0" bIns="0">
            <a:spAutoFit/>
          </a:bodyPr>
          <a:lstStyle>
            <a:lvl1pPr>
              <a:defRPr b="0" i="0">
                <a:solidFill>
                  <a:schemeClr val="tx1"/>
                </a:solidFill>
              </a:defRPr>
            </a:lvl1pPr>
          </a:lstStyle>
          <a:p>
            <a:r>
              <a:rPr lang="en-US"/>
              <a:t>sample text</a:t>
            </a:r>
            <a:endParaRPr/>
          </a:p>
        </p:txBody>
      </p:sp>
      <p:sp>
        <p:nvSpPr>
          <p:cNvPr id="8" name="スライド番号プレースホルダー 4">
            <a:extLst>
              <a:ext uri="{FF2B5EF4-FFF2-40B4-BE49-F238E27FC236}">
                <a16:creationId xmlns:a16="http://schemas.microsoft.com/office/drawing/2014/main" id="{7719EDD2-7710-04F7-1A25-BDB5B702AEDC}"/>
              </a:ext>
            </a:extLst>
          </p:cNvPr>
          <p:cNvSpPr txBox="1">
            <a:spLocks/>
          </p:cNvSpPr>
          <p:nvPr userDrawn="1"/>
        </p:nvSpPr>
        <p:spPr>
          <a:xfrm>
            <a:off x="8537550" y="6540123"/>
            <a:ext cx="2804160" cy="153888"/>
          </a:xfrm>
          <a:prstGeom prst="rect">
            <a:avLst/>
          </a:prstGeom>
        </p:spPr>
        <p:txBody>
          <a:bodyPr/>
          <a:lstStyle>
            <a:defPPr>
              <a:defRPr kern="0"/>
            </a:defPPr>
            <a:lvl1pPr>
              <a:defRPr sz="1000" b="0" i="0">
                <a:solidFill>
                  <a:schemeClr val="bg1"/>
                </a:solidFill>
                <a:latin typeface="Yu Gothic Medium" panose="020B0400000000000000" pitchFamily="34" charset="-128"/>
                <a:ea typeface="Yu Gothic Medium" panose="020B0400000000000000" pitchFamily="34" charset="-128"/>
              </a:defRPr>
            </a:lvl1pPr>
          </a:lstStyle>
          <a:p>
            <a:endParaRPr lang="en-US" altLang="ja-JP"/>
          </a:p>
        </p:txBody>
      </p:sp>
      <p:sp>
        <p:nvSpPr>
          <p:cNvPr id="13" name="スライド番号プレースホルダー 12">
            <a:extLst>
              <a:ext uri="{FF2B5EF4-FFF2-40B4-BE49-F238E27FC236}">
                <a16:creationId xmlns:a16="http://schemas.microsoft.com/office/drawing/2014/main" id="{C02BFF22-DCBF-9EB4-F8E2-F27A59522946}"/>
              </a:ext>
            </a:extLst>
          </p:cNvPr>
          <p:cNvSpPr>
            <a:spLocks noGrp="1"/>
          </p:cNvSpPr>
          <p:nvPr>
            <p:ph type="sldNum" sz="quarter" idx="4"/>
          </p:nvPr>
        </p:nvSpPr>
        <p:spPr>
          <a:xfrm>
            <a:off x="9204960" y="6540123"/>
            <a:ext cx="2743200" cy="153888"/>
          </a:xfrm>
          <a:prstGeom prst="rect">
            <a:avLst/>
          </a:prstGeom>
        </p:spPr>
        <p:txBody>
          <a:bodyPr vert="horz" lIns="91440" tIns="45720" rIns="91440" bIns="45720" rtlCol="0" anchor="ctr"/>
          <a:lstStyle>
            <a:lvl1pPr algn="r">
              <a:defRPr sz="1000" b="0" i="0">
                <a:solidFill>
                  <a:schemeClr val="bg1"/>
                </a:solidFill>
                <a:latin typeface="Segoe UI" panose="020B0502040204020203" pitchFamily="34" charset="0"/>
                <a:ea typeface="Yu Gothic Medium" panose="020B0400000000000000" pitchFamily="34" charset="-128"/>
                <a:cs typeface="Segoe UI" panose="020B0502040204020203" pitchFamily="34" charset="0"/>
              </a:defRPr>
            </a:lvl1pPr>
          </a:lstStyle>
          <a:p>
            <a:fld id="{34A25005-A456-2C43-92D8-007A27047B97}" type="slidenum">
              <a:rPr kumimoji="1" lang="ja-JP" altLang="en-US" smtClean="0"/>
              <a:pPr/>
              <a:t>‹#›</a:t>
            </a:fld>
            <a:endParaRPr kumimoji="1" lang="ja-JP" altLang="en-US"/>
          </a:p>
        </p:txBody>
      </p:sp>
      <p:pic>
        <p:nvPicPr>
          <p:cNvPr id="6" name="図 5">
            <a:extLst>
              <a:ext uri="{FF2B5EF4-FFF2-40B4-BE49-F238E27FC236}">
                <a16:creationId xmlns:a16="http://schemas.microsoft.com/office/drawing/2014/main" id="{D1CC5074-66BA-259C-778A-267286160414}"/>
              </a:ext>
            </a:extLst>
          </p:cNvPr>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0" y="6375400"/>
            <a:ext cx="12192000" cy="482600"/>
          </a:xfrm>
          <a:prstGeom prst="rect">
            <a:avLst/>
          </a:prstGeom>
        </p:spPr>
      </p:pic>
    </p:spTree>
    <p:extLst>
      <p:ext uri="{BB962C8B-B14F-4D97-AF65-F5344CB8AC3E}">
        <p14:creationId xmlns:p14="http://schemas.microsoft.com/office/powerpoint/2010/main" val="4164144183"/>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Lst>
  <p:hf hdr="0" ftr="0" dt="0"/>
  <p:txStyles>
    <p:titleStyle>
      <a:lvl1pPr>
        <a:defRPr b="1" i="0">
          <a:latin typeface="Segoe UI" panose="020B0502040204020203" pitchFamily="34" charset="0"/>
          <a:ea typeface="Yu Gothic" panose="020B0400000000000000" pitchFamily="34" charset="-128"/>
          <a:cs typeface="Segoe UI" panose="020B0502040204020203" pitchFamily="34" charset="0"/>
        </a:defRPr>
      </a:lvl1pPr>
    </p:titleStyle>
    <p:bodyStyle>
      <a:lvl1pPr marL="14400">
        <a:lnSpc>
          <a:spcPct val="130000"/>
        </a:lnSpc>
        <a:spcBef>
          <a:spcPts val="100"/>
        </a:spcBef>
        <a:defRPr sz="1600" b="0" i="0">
          <a:latin typeface="Segoe UI" panose="020B0502040204020203" pitchFamily="34" charset="0"/>
          <a:ea typeface="Yu Gothic Medium" panose="020B0400000000000000" pitchFamily="34" charset="-128"/>
          <a:cs typeface="Segoe UI" panose="020B0502040204020203" pitchFamily="34"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619">
          <p15:clr>
            <a:srgbClr val="F26B43"/>
          </p15:clr>
        </p15:guide>
        <p15:guide id="4" pos="706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1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32.xml"/><Relationship Id="rId5" Type="http://schemas.openxmlformats.org/officeDocument/2006/relationships/image" Target="../media/image149.jpg"/><Relationship Id="rId4" Type="http://schemas.openxmlformats.org/officeDocument/2006/relationships/image" Target="../media/image148.png"/></Relationships>
</file>

<file path=ppt/slides/_rels/slide12.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image" Target="../media/image150.png"/><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6.xml"/><Relationship Id="rId1" Type="http://schemas.openxmlformats.org/officeDocument/2006/relationships/slideLayout" Target="../slideLayouts/slideLayout33.xml"/><Relationship Id="rId4" Type="http://schemas.openxmlformats.org/officeDocument/2006/relationships/image" Target="../media/image156.jpeg"/></Relationships>
</file>

<file path=ppt/slides/_rels/slide16.xml.rels><?xml version="1.0" encoding="UTF-8" standalone="yes"?>
<Relationships xmlns="http://schemas.openxmlformats.org/package/2006/relationships"><Relationship Id="rId3" Type="http://schemas.openxmlformats.org/officeDocument/2006/relationships/image" Target="../media/image157.jpg"/><Relationship Id="rId2" Type="http://schemas.openxmlformats.org/officeDocument/2006/relationships/notesSlide" Target="../notesSlides/notesSlide7.xml"/><Relationship Id="rId1" Type="http://schemas.openxmlformats.org/officeDocument/2006/relationships/slideLayout" Target="../slideLayouts/slideLayout33.xml"/><Relationship Id="rId4" Type="http://schemas.openxmlformats.org/officeDocument/2006/relationships/image" Target="../media/image158.png"/></Relationships>
</file>

<file path=ppt/slides/_rels/slide17.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8.xml"/><Relationship Id="rId1" Type="http://schemas.openxmlformats.org/officeDocument/2006/relationships/slideLayout" Target="../slideLayouts/slideLayout33.xml"/><Relationship Id="rId4" Type="http://schemas.openxmlformats.org/officeDocument/2006/relationships/image" Target="../media/image160.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87.xml"/><Relationship Id="rId1" Type="http://schemas.openxmlformats.org/officeDocument/2006/relationships/tags" Target="../tags/tag18.xml"/><Relationship Id="rId5" Type="http://schemas.openxmlformats.org/officeDocument/2006/relationships/image" Target="../media/image16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20.xml.rels><?xml version="1.0" encoding="UTF-8" standalone="yes"?>
<Relationships xmlns="http://schemas.openxmlformats.org/package/2006/relationships"><Relationship Id="rId3" Type="http://schemas.openxmlformats.org/officeDocument/2006/relationships/image" Target="../media/image163.gif"/><Relationship Id="rId2" Type="http://schemas.openxmlformats.org/officeDocument/2006/relationships/image" Target="../media/image162.jpg"/><Relationship Id="rId1" Type="http://schemas.openxmlformats.org/officeDocument/2006/relationships/slideLayout" Target="../slideLayouts/slideLayout126.xml"/><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145.xml"/><Relationship Id="rId5" Type="http://schemas.openxmlformats.org/officeDocument/2006/relationships/image" Target="../media/image52.pn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image" Target="../media/image56.jpeg"/><Relationship Id="rId7" Type="http://schemas.openxmlformats.org/officeDocument/2006/relationships/image" Target="../media/image60.jpeg"/><Relationship Id="rId2" Type="http://schemas.openxmlformats.org/officeDocument/2006/relationships/notesSlide" Target="../notesSlides/notesSlide2.xml"/><Relationship Id="rId1" Type="http://schemas.openxmlformats.org/officeDocument/2006/relationships/slideLayout" Target="../slideLayouts/slideLayout145.xml"/><Relationship Id="rId6" Type="http://schemas.openxmlformats.org/officeDocument/2006/relationships/image" Target="../media/image59.jpeg"/><Relationship Id="rId11" Type="http://schemas.openxmlformats.org/officeDocument/2006/relationships/image" Target="../media/image64.jpeg"/><Relationship Id="rId5" Type="http://schemas.openxmlformats.org/officeDocument/2006/relationships/image" Target="../media/image58.jpeg"/><Relationship Id="rId10" Type="http://schemas.openxmlformats.org/officeDocument/2006/relationships/image" Target="../media/image63.jpeg"/><Relationship Id="rId4" Type="http://schemas.openxmlformats.org/officeDocument/2006/relationships/image" Target="../media/image57.jpeg"/><Relationship Id="rId9" Type="http://schemas.openxmlformats.org/officeDocument/2006/relationships/image" Target="../media/image6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6.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26" Type="http://schemas.openxmlformats.org/officeDocument/2006/relationships/image" Target="../media/image85.png"/><Relationship Id="rId3" Type="http://schemas.openxmlformats.org/officeDocument/2006/relationships/notesSlide" Target="../notesSlides/notesSlide3.xml"/><Relationship Id="rId21" Type="http://schemas.openxmlformats.org/officeDocument/2006/relationships/image" Target="../media/image80.pn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5" Type="http://schemas.openxmlformats.org/officeDocument/2006/relationships/image" Target="../media/image84.png"/><Relationship Id="rId2" Type="http://schemas.openxmlformats.org/officeDocument/2006/relationships/slideLayout" Target="../slideLayouts/slideLayout87.xml"/><Relationship Id="rId16" Type="http://schemas.openxmlformats.org/officeDocument/2006/relationships/image" Target="../media/image75.png"/><Relationship Id="rId20" Type="http://schemas.openxmlformats.org/officeDocument/2006/relationships/image" Target="../media/image79.png"/><Relationship Id="rId1" Type="http://schemas.openxmlformats.org/officeDocument/2006/relationships/tags" Target="../tags/tag14.xml"/><Relationship Id="rId6" Type="http://schemas.openxmlformats.org/officeDocument/2006/relationships/image" Target="../media/image65.jpg"/><Relationship Id="rId11" Type="http://schemas.openxmlformats.org/officeDocument/2006/relationships/image" Target="../media/image70.png"/><Relationship Id="rId24" Type="http://schemas.openxmlformats.org/officeDocument/2006/relationships/image" Target="../media/image83.png"/><Relationship Id="rId5" Type="http://schemas.openxmlformats.org/officeDocument/2006/relationships/image" Target="../media/image1.emf"/><Relationship Id="rId15" Type="http://schemas.openxmlformats.org/officeDocument/2006/relationships/image" Target="../media/image74.png"/><Relationship Id="rId23" Type="http://schemas.openxmlformats.org/officeDocument/2006/relationships/image" Target="../media/image82.png"/><Relationship Id="rId28" Type="http://schemas.openxmlformats.org/officeDocument/2006/relationships/image" Target="../media/image87.png"/><Relationship Id="rId10" Type="http://schemas.openxmlformats.org/officeDocument/2006/relationships/image" Target="../media/image69.png"/><Relationship Id="rId19" Type="http://schemas.openxmlformats.org/officeDocument/2006/relationships/image" Target="../media/image78.png"/><Relationship Id="rId4" Type="http://schemas.openxmlformats.org/officeDocument/2006/relationships/oleObject" Target="../embeddings/oleObject13.bin"/><Relationship Id="rId9" Type="http://schemas.openxmlformats.org/officeDocument/2006/relationships/image" Target="../media/image68.png"/><Relationship Id="rId14" Type="http://schemas.openxmlformats.org/officeDocument/2006/relationships/image" Target="../media/image73.png"/><Relationship Id="rId22" Type="http://schemas.openxmlformats.org/officeDocument/2006/relationships/image" Target="../media/image81.png"/><Relationship Id="rId27" Type="http://schemas.openxmlformats.org/officeDocument/2006/relationships/image" Target="../media/image86.png"/></Relationships>
</file>

<file path=ppt/slides/_rels/slide7.xml.rels><?xml version="1.0" encoding="UTF-8" standalone="yes"?>
<Relationships xmlns="http://schemas.openxmlformats.org/package/2006/relationships"><Relationship Id="rId13" Type="http://schemas.openxmlformats.org/officeDocument/2006/relationships/image" Target="../media/image95.png"/><Relationship Id="rId18" Type="http://schemas.openxmlformats.org/officeDocument/2006/relationships/image" Target="../media/image100.png"/><Relationship Id="rId26" Type="http://schemas.openxmlformats.org/officeDocument/2006/relationships/image" Target="../media/image108.png"/><Relationship Id="rId3" Type="http://schemas.openxmlformats.org/officeDocument/2006/relationships/notesSlide" Target="../notesSlides/notesSlide4.xml"/><Relationship Id="rId21" Type="http://schemas.openxmlformats.org/officeDocument/2006/relationships/image" Target="../media/image103.png"/><Relationship Id="rId7" Type="http://schemas.openxmlformats.org/officeDocument/2006/relationships/image" Target="../media/image89.png"/><Relationship Id="rId12" Type="http://schemas.openxmlformats.org/officeDocument/2006/relationships/image" Target="../media/image94.png"/><Relationship Id="rId17" Type="http://schemas.openxmlformats.org/officeDocument/2006/relationships/image" Target="../media/image99.png"/><Relationship Id="rId25" Type="http://schemas.openxmlformats.org/officeDocument/2006/relationships/image" Target="../media/image107.png"/><Relationship Id="rId33" Type="http://schemas.openxmlformats.org/officeDocument/2006/relationships/image" Target="../media/image115.png"/><Relationship Id="rId2" Type="http://schemas.openxmlformats.org/officeDocument/2006/relationships/slideLayout" Target="../slideLayouts/slideLayout84.xml"/><Relationship Id="rId16" Type="http://schemas.openxmlformats.org/officeDocument/2006/relationships/image" Target="../media/image98.png"/><Relationship Id="rId20" Type="http://schemas.openxmlformats.org/officeDocument/2006/relationships/image" Target="../media/image102.png"/><Relationship Id="rId29" Type="http://schemas.openxmlformats.org/officeDocument/2006/relationships/image" Target="../media/image111.png"/><Relationship Id="rId1" Type="http://schemas.openxmlformats.org/officeDocument/2006/relationships/tags" Target="../tags/tag15.xml"/><Relationship Id="rId6" Type="http://schemas.openxmlformats.org/officeDocument/2006/relationships/image" Target="../media/image1.emf"/><Relationship Id="rId11" Type="http://schemas.openxmlformats.org/officeDocument/2006/relationships/image" Target="../media/image93.png"/><Relationship Id="rId24" Type="http://schemas.openxmlformats.org/officeDocument/2006/relationships/image" Target="../media/image106.png"/><Relationship Id="rId32" Type="http://schemas.openxmlformats.org/officeDocument/2006/relationships/image" Target="../media/image114.png"/><Relationship Id="rId5" Type="http://schemas.openxmlformats.org/officeDocument/2006/relationships/oleObject" Target="../embeddings/oleObject14.bin"/><Relationship Id="rId15" Type="http://schemas.openxmlformats.org/officeDocument/2006/relationships/image" Target="../media/image97.png"/><Relationship Id="rId23" Type="http://schemas.openxmlformats.org/officeDocument/2006/relationships/image" Target="../media/image105.png"/><Relationship Id="rId28" Type="http://schemas.openxmlformats.org/officeDocument/2006/relationships/image" Target="../media/image110.png"/><Relationship Id="rId10" Type="http://schemas.openxmlformats.org/officeDocument/2006/relationships/image" Target="../media/image92.png"/><Relationship Id="rId19" Type="http://schemas.openxmlformats.org/officeDocument/2006/relationships/image" Target="../media/image101.png"/><Relationship Id="rId31" Type="http://schemas.openxmlformats.org/officeDocument/2006/relationships/image" Target="../media/image113.png"/><Relationship Id="rId4" Type="http://schemas.openxmlformats.org/officeDocument/2006/relationships/image" Target="../media/image88.png"/><Relationship Id="rId9" Type="http://schemas.openxmlformats.org/officeDocument/2006/relationships/image" Target="../media/image91.png"/><Relationship Id="rId14" Type="http://schemas.openxmlformats.org/officeDocument/2006/relationships/image" Target="../media/image96.png"/><Relationship Id="rId22" Type="http://schemas.openxmlformats.org/officeDocument/2006/relationships/image" Target="../media/image104.png"/><Relationship Id="rId27" Type="http://schemas.openxmlformats.org/officeDocument/2006/relationships/image" Target="../media/image109.png"/><Relationship Id="rId30" Type="http://schemas.openxmlformats.org/officeDocument/2006/relationships/image" Target="../media/image112.png"/><Relationship Id="rId8" Type="http://schemas.openxmlformats.org/officeDocument/2006/relationships/image" Target="../media/image90.png"/></Relationships>
</file>

<file path=ppt/slides/_rels/slide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5.xml"/><Relationship Id="rId7" Type="http://schemas.openxmlformats.org/officeDocument/2006/relationships/image" Target="../media/image117.png"/><Relationship Id="rId2" Type="http://schemas.openxmlformats.org/officeDocument/2006/relationships/slideLayout" Target="../slideLayouts/slideLayout87.xml"/><Relationship Id="rId1" Type="http://schemas.openxmlformats.org/officeDocument/2006/relationships/tags" Target="../tags/tag16.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15.bin"/><Relationship Id="rId9" Type="http://schemas.openxmlformats.org/officeDocument/2006/relationships/image" Target="../media/image118.png"/></Relationships>
</file>

<file path=ppt/slides/_rels/slide9.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oleObject" Target="../embeddings/oleObject16.bin"/><Relationship Id="rId21" Type="http://schemas.openxmlformats.org/officeDocument/2006/relationships/image" Target="../media/image134.png"/><Relationship Id="rId7" Type="http://schemas.microsoft.com/office/2007/relationships/hdphoto" Target="../media/hdphoto2.wdp"/><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8.png"/><Relationship Id="rId2" Type="http://schemas.openxmlformats.org/officeDocument/2006/relationships/slideLayout" Target="../slideLayouts/slideLayout86.xml"/><Relationship Id="rId16" Type="http://schemas.openxmlformats.org/officeDocument/2006/relationships/image" Target="../media/image129.png"/><Relationship Id="rId20" Type="http://schemas.openxmlformats.org/officeDocument/2006/relationships/image" Target="../media/image133.png"/><Relationship Id="rId29" Type="http://schemas.openxmlformats.org/officeDocument/2006/relationships/image" Target="../media/image142.png"/><Relationship Id="rId1" Type="http://schemas.openxmlformats.org/officeDocument/2006/relationships/tags" Target="../tags/tag17.xml"/><Relationship Id="rId6" Type="http://schemas.openxmlformats.org/officeDocument/2006/relationships/image" Target="../media/image120.png"/><Relationship Id="rId11" Type="http://schemas.openxmlformats.org/officeDocument/2006/relationships/image" Target="../media/image124.png"/><Relationship Id="rId24" Type="http://schemas.openxmlformats.org/officeDocument/2006/relationships/image" Target="../media/image137.png"/><Relationship Id="rId32" Type="http://schemas.openxmlformats.org/officeDocument/2006/relationships/image" Target="../media/image145.png"/><Relationship Id="rId5" Type="http://schemas.openxmlformats.org/officeDocument/2006/relationships/image" Target="../media/image119.png"/><Relationship Id="rId15" Type="http://schemas.openxmlformats.org/officeDocument/2006/relationships/image" Target="../media/image128.png"/><Relationship Id="rId23" Type="http://schemas.openxmlformats.org/officeDocument/2006/relationships/image" Target="../media/image136.png"/><Relationship Id="rId28" Type="http://schemas.openxmlformats.org/officeDocument/2006/relationships/image" Target="../media/image141.png"/><Relationship Id="rId10" Type="http://schemas.openxmlformats.org/officeDocument/2006/relationships/image" Target="../media/image123.png"/><Relationship Id="rId19" Type="http://schemas.openxmlformats.org/officeDocument/2006/relationships/image" Target="../media/image132.png"/><Relationship Id="rId31" Type="http://schemas.openxmlformats.org/officeDocument/2006/relationships/image" Target="../media/image144.png"/><Relationship Id="rId4" Type="http://schemas.openxmlformats.org/officeDocument/2006/relationships/image" Target="../media/image1.emf"/><Relationship Id="rId9" Type="http://schemas.openxmlformats.org/officeDocument/2006/relationships/image" Target="../media/image122.png"/><Relationship Id="rId14" Type="http://schemas.openxmlformats.org/officeDocument/2006/relationships/image" Target="../media/image127.png"/><Relationship Id="rId22" Type="http://schemas.openxmlformats.org/officeDocument/2006/relationships/image" Target="../media/image135.png"/><Relationship Id="rId27" Type="http://schemas.openxmlformats.org/officeDocument/2006/relationships/image" Target="../media/image140.png"/><Relationship Id="rId30" Type="http://schemas.openxmlformats.org/officeDocument/2006/relationships/image" Target="../media/image1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37200EFD-F97D-D86F-AC06-6A1707EB93B3}"/>
              </a:ext>
            </a:extLst>
          </p:cNvPr>
          <p:cNvSpPr>
            <a:spLocks noGrp="1"/>
          </p:cNvSpPr>
          <p:nvPr>
            <p:ph type="body" sz="quarter" idx="11"/>
          </p:nvPr>
        </p:nvSpPr>
        <p:spPr>
          <a:xfrm>
            <a:off x="791852" y="3710487"/>
            <a:ext cx="5043340" cy="463460"/>
          </a:xfrm>
        </p:spPr>
        <p:txBody>
          <a:bodyPr>
            <a:noAutofit/>
          </a:bodyPr>
          <a:lstStyle/>
          <a:p>
            <a:pPr marL="0" indent="0">
              <a:buNone/>
            </a:pP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株</a:t>
            </a:r>
            <a:r>
              <a:rPr lang="en-US" altLang="ja-JP" sz="1000" dirty="0">
                <a:latin typeface="Meiryo UI" panose="020B0604030504040204" pitchFamily="50" charset="-128"/>
                <a:ea typeface="Meiryo UI" panose="020B0604030504040204" pitchFamily="50" charset="-128"/>
              </a:rPr>
              <a:t>)</a:t>
            </a:r>
            <a:r>
              <a:rPr lang="ja-JP" altLang="en-US" sz="1000" dirty="0">
                <a:latin typeface="Meiryo UI" panose="020B0604030504040204" pitchFamily="50" charset="-128"/>
                <a:ea typeface="Meiryo UI" panose="020B0604030504040204" pitchFamily="50" charset="-128"/>
              </a:rPr>
              <a:t>商船三井さんふらわあ　</a:t>
            </a:r>
            <a:endParaRPr lang="en-US" altLang="ja-JP" sz="1000" dirty="0">
              <a:latin typeface="Meiryo UI" panose="020B0604030504040204" pitchFamily="50" charset="-128"/>
              <a:ea typeface="Meiryo UI" panose="020B0604030504040204" pitchFamily="50" charset="-128"/>
            </a:endParaRPr>
          </a:p>
          <a:p>
            <a:pPr marL="0" indent="0">
              <a:buNone/>
            </a:pPr>
            <a:r>
              <a:rPr lang="ja-JP" altLang="en-US" sz="1000" dirty="0">
                <a:latin typeface="Meiryo UI" panose="020B0604030504040204" pitchFamily="50" charset="-128"/>
                <a:ea typeface="Meiryo UI" panose="020B0604030504040204" pitchFamily="50" charset="-128"/>
              </a:rPr>
              <a:t>旅客営業二部　冨田</a:t>
            </a:r>
          </a:p>
        </p:txBody>
      </p:sp>
      <p:sp>
        <p:nvSpPr>
          <p:cNvPr id="2" name="タイトル 1">
            <a:extLst>
              <a:ext uri="{FF2B5EF4-FFF2-40B4-BE49-F238E27FC236}">
                <a16:creationId xmlns:a16="http://schemas.microsoft.com/office/drawing/2014/main" id="{02CFBB71-1386-1D60-C973-40FFF5F9DABA}"/>
              </a:ext>
            </a:extLst>
          </p:cNvPr>
          <p:cNvSpPr>
            <a:spLocks noGrp="1"/>
          </p:cNvSpPr>
          <p:nvPr>
            <p:ph type="title"/>
          </p:nvPr>
        </p:nvSpPr>
        <p:spPr>
          <a:xfrm>
            <a:off x="723586" y="1713458"/>
            <a:ext cx="5179872" cy="1604223"/>
          </a:xfrm>
        </p:spPr>
        <p:txBody>
          <a:bodyPr/>
          <a:lstStyle/>
          <a:p>
            <a:r>
              <a:rPr kumimoji="1" lang="ja-JP" altLang="en-US" sz="2400" dirty="0"/>
              <a:t>日本初の</a:t>
            </a:r>
            <a:r>
              <a:rPr kumimoji="1" lang="en-US" altLang="ja-JP" sz="2400" dirty="0"/>
              <a:t>LNG</a:t>
            </a:r>
            <a:r>
              <a:rPr kumimoji="1" lang="ja-JP" altLang="en-US" sz="2400" dirty="0"/>
              <a:t>燃料フェリー</a:t>
            </a:r>
            <a:br>
              <a:rPr kumimoji="1" lang="en-US" altLang="ja-JP" sz="2400" dirty="0"/>
            </a:br>
            <a:r>
              <a:rPr kumimoji="1" lang="ja-JP" altLang="en-US" sz="2400" dirty="0"/>
              <a:t>「さんふらわあ くれない・むらさき」と</a:t>
            </a:r>
            <a:br>
              <a:rPr kumimoji="1" lang="en-US" altLang="ja-JP" sz="2400" dirty="0"/>
            </a:br>
            <a:r>
              <a:rPr kumimoji="1" lang="ja-JP" altLang="en-US" sz="2400" dirty="0"/>
              <a:t>商船三井グループの環境取組み</a:t>
            </a:r>
            <a:endParaRPr kumimoji="1" lang="ja-JP" altLang="en-US" sz="1800" dirty="0"/>
          </a:p>
        </p:txBody>
      </p:sp>
      <p:sp>
        <p:nvSpPr>
          <p:cNvPr id="4" name="テキスト プレースホルダー 3">
            <a:extLst>
              <a:ext uri="{FF2B5EF4-FFF2-40B4-BE49-F238E27FC236}">
                <a16:creationId xmlns:a16="http://schemas.microsoft.com/office/drawing/2014/main" id="{C31BE688-B047-9E8B-4E86-24F2D68F4921}"/>
              </a:ext>
            </a:extLst>
          </p:cNvPr>
          <p:cNvSpPr>
            <a:spLocks noGrp="1"/>
          </p:cNvSpPr>
          <p:nvPr>
            <p:ph type="body" sz="quarter" idx="10"/>
          </p:nvPr>
        </p:nvSpPr>
        <p:spPr>
          <a:xfrm>
            <a:off x="1709278" y="3452843"/>
            <a:ext cx="3286760" cy="257644"/>
          </a:xfrm>
        </p:spPr>
        <p:txBody>
          <a:bodyPr>
            <a:noAutofit/>
          </a:bodyPr>
          <a:lstStyle/>
          <a:p>
            <a:pPr marL="0" indent="0">
              <a:buNone/>
            </a:pPr>
            <a:r>
              <a:rPr kumimoji="1" lang="en-US" altLang="ja-JP" sz="1200" dirty="0">
                <a:latin typeface="Meiryo UI" panose="020B0604030504040204" pitchFamily="50" charset="-128"/>
                <a:ea typeface="Meiryo UI" panose="020B0604030504040204" pitchFamily="50" charset="-128"/>
              </a:rPr>
              <a:t>2024/02/20</a:t>
            </a:r>
            <a:endParaRPr kumimoji="1" lang="ja-JP" altLang="en-US" sz="1200" dirty="0">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F3B479F3-4AD7-A812-2EF8-06DC9580999E}"/>
              </a:ext>
            </a:extLst>
          </p:cNvPr>
          <p:cNvPicPr>
            <a:picLocks noChangeAspect="1"/>
          </p:cNvPicPr>
          <p:nvPr/>
        </p:nvPicPr>
        <p:blipFill>
          <a:blip r:embed="rId2"/>
          <a:stretch>
            <a:fillRect/>
          </a:stretch>
        </p:blipFill>
        <p:spPr>
          <a:xfrm>
            <a:off x="5835192" y="1044237"/>
            <a:ext cx="6367978" cy="4244455"/>
          </a:xfrm>
          <a:prstGeom prst="rect">
            <a:avLst/>
          </a:prstGeom>
        </p:spPr>
      </p:pic>
    </p:spTree>
    <p:extLst>
      <p:ext uri="{BB962C8B-B14F-4D97-AF65-F5344CB8AC3E}">
        <p14:creationId xmlns:p14="http://schemas.microsoft.com/office/powerpoint/2010/main" val="41304980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F4DFFAE1-41B0-0FC7-EE9A-76F8EC8F1C5C}"/>
              </a:ext>
            </a:extLst>
          </p:cNvPr>
          <p:cNvSpPr>
            <a:spLocks noGrp="1"/>
          </p:cNvSpPr>
          <p:nvPr>
            <p:ph type="body" sz="quarter" idx="11"/>
          </p:nvPr>
        </p:nvSpPr>
        <p:spPr>
          <a:xfrm>
            <a:off x="4842733" y="1652435"/>
            <a:ext cx="6293324" cy="3325965"/>
          </a:xfrm>
        </p:spPr>
        <p:txBody>
          <a:bodyPr wrap="square" lIns="0" tIns="0" rIns="0" bIns="0" anchor="t">
            <a:noAutofit/>
          </a:bodyPr>
          <a:lstStyle/>
          <a:p>
            <a:pPr marL="356870"/>
            <a:endParaRPr lang="ja-JP" altLang="en-US" dirty="0">
              <a:cs typeface="Segoe UI"/>
            </a:endParaRPr>
          </a:p>
          <a:p>
            <a:pPr marL="356870"/>
            <a:endParaRPr lang="ja-JP" altLang="en-US" dirty="0">
              <a:cs typeface="Segoe UI"/>
            </a:endParaRPr>
          </a:p>
        </p:txBody>
      </p:sp>
      <p:sp>
        <p:nvSpPr>
          <p:cNvPr id="3" name="タイトル 2">
            <a:extLst>
              <a:ext uri="{FF2B5EF4-FFF2-40B4-BE49-F238E27FC236}">
                <a16:creationId xmlns:a16="http://schemas.microsoft.com/office/drawing/2014/main" id="{A5F43D7E-010E-C4D4-5838-907A0BE72A2B}"/>
              </a:ext>
            </a:extLst>
          </p:cNvPr>
          <p:cNvSpPr>
            <a:spLocks noGrp="1"/>
          </p:cNvSpPr>
          <p:nvPr>
            <p:ph type="title"/>
          </p:nvPr>
        </p:nvSpPr>
        <p:spPr/>
        <p:txBody>
          <a:bodyPr/>
          <a:lstStyle/>
          <a:p>
            <a:r>
              <a:rPr kumimoji="1" lang="ja-JP" altLang="en-US" dirty="0"/>
              <a:t>目次タイトル</a:t>
            </a:r>
          </a:p>
        </p:txBody>
      </p:sp>
      <p:sp>
        <p:nvSpPr>
          <p:cNvPr id="4" name="テキスト プレースホルダー 2">
            <a:extLst>
              <a:ext uri="{FF2B5EF4-FFF2-40B4-BE49-F238E27FC236}">
                <a16:creationId xmlns:a16="http://schemas.microsoft.com/office/drawing/2014/main" id="{7A1539A8-3A4B-53CB-3229-DA4B57E04679}"/>
              </a:ext>
            </a:extLst>
          </p:cNvPr>
          <p:cNvSpPr txBox="1">
            <a:spLocks/>
          </p:cNvSpPr>
          <p:nvPr/>
        </p:nvSpPr>
        <p:spPr>
          <a:xfrm>
            <a:off x="4733925" y="955328"/>
            <a:ext cx="7124699" cy="4495800"/>
          </a:xfrm>
          <a:prstGeom prst="rect">
            <a:avLst/>
          </a:prstGeom>
        </p:spPr>
        <p:txBody>
          <a:bodyPr wrap="square" lIns="0" tIns="0" rIns="0" bIns="0" anchor="ctr">
            <a:noAutofit/>
          </a:bodyPr>
          <a:lstStyle>
            <a:lvl1pPr marL="357300" indent="-342900">
              <a:lnSpc>
                <a:spcPct val="130000"/>
              </a:lnSpc>
              <a:spcBef>
                <a:spcPts val="100"/>
              </a:spcBef>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1pPr>
            <a:lvl2pPr marL="8001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2pPr>
            <a:lvl3pPr marL="12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3pPr>
            <a:lvl4pPr marL="17145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4pPr>
            <a:lvl5pPr marL="21717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1.</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商船三井さんふらわあの概要</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14400" marR="0" lvl="0" indent="0"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FF0000"/>
              </a:solidFill>
            </a:endParaRPr>
          </a:p>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t>2</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商船三井グループ環境ビジョン</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2.2</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の概要</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714375" marR="0" lvl="0" indent="-352425" defTabSz="914400" eaLnBrk="1" fontAlgn="auto" latinLnBrk="0" hangingPunct="1">
              <a:lnSpc>
                <a:spcPct val="100000"/>
              </a:lnSpc>
              <a:spcBef>
                <a:spcPts val="0"/>
              </a:spcBef>
              <a:spcAft>
                <a:spcPts val="600"/>
              </a:spcAft>
              <a:buClrTx/>
              <a:buSzTx/>
              <a:buFont typeface="Wingdings" panose="05000000000000000000" pitchFamily="2" charset="2"/>
              <a:buChar char="ü"/>
              <a:tabLst/>
              <a:defRPr/>
            </a:pPr>
            <a:endParaRPr kumimoji="1" lang="en-US" altLang="ja-JP" sz="1800" b="0"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solidFill>
                  <a:srgbClr val="FF0000"/>
                </a:solidFill>
              </a:rPr>
              <a:t>3</a:t>
            </a:r>
            <a:r>
              <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日本初の</a:t>
            </a:r>
            <a:r>
              <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LNG</a:t>
            </a:r>
            <a:r>
              <a:rPr kumimoji="1" lang="ja-JP" altLang="en-US"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燃料フェリー「さんふらわあ くれない・むらさき」</a:t>
            </a:r>
            <a:endPar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FF0000"/>
              </a:solidFill>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4.</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終わりに</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p:txBody>
      </p:sp>
      <p:sp>
        <p:nvSpPr>
          <p:cNvPr id="5" name="スライド番号プレースホルダー 3">
            <a:extLst>
              <a:ext uri="{FF2B5EF4-FFF2-40B4-BE49-F238E27FC236}">
                <a16:creationId xmlns:a16="http://schemas.microsoft.com/office/drawing/2014/main" id="{4420B3D1-8D33-0EBE-8EB2-C24589DF7B69}"/>
              </a:ext>
            </a:extLst>
          </p:cNvPr>
          <p:cNvSpPr>
            <a:spLocks noGrp="1"/>
          </p:cNvSpPr>
          <p:nvPr>
            <p:ph type="sldNum" sz="quarter" idx="12"/>
          </p:nvPr>
        </p:nvSpPr>
        <p:spPr>
          <a:xfrm>
            <a:off x="9204960" y="6540123"/>
            <a:ext cx="2743200" cy="153888"/>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Tree>
    <p:extLst>
      <p:ext uri="{BB962C8B-B14F-4D97-AF65-F5344CB8AC3E}">
        <p14:creationId xmlns:p14="http://schemas.microsoft.com/office/powerpoint/2010/main" val="2700119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D3DC0E8-3B03-F4C6-CE55-89D7E20A0BA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809" y="1011971"/>
            <a:ext cx="4336156" cy="2499577"/>
          </a:xfrm>
          <a:prstGeom prst="rect">
            <a:avLst/>
          </a:prstGeom>
        </p:spPr>
      </p:pic>
      <p:pic>
        <p:nvPicPr>
          <p:cNvPr id="9" name="図 8">
            <a:extLst>
              <a:ext uri="{FF2B5EF4-FFF2-40B4-BE49-F238E27FC236}">
                <a16:creationId xmlns:a16="http://schemas.microsoft.com/office/drawing/2014/main" id="{F69668AA-7304-6876-CB6E-6DAC4C0B329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1668"/>
          <a:stretch/>
        </p:blipFill>
        <p:spPr>
          <a:xfrm>
            <a:off x="5102638" y="941962"/>
            <a:ext cx="6845522" cy="2415697"/>
          </a:xfrm>
          <a:prstGeom prst="rect">
            <a:avLst/>
          </a:prstGeom>
        </p:spPr>
      </p:pic>
      <p:pic>
        <p:nvPicPr>
          <p:cNvPr id="13" name="図 12">
            <a:extLst>
              <a:ext uri="{FF2B5EF4-FFF2-40B4-BE49-F238E27FC236}">
                <a16:creationId xmlns:a16="http://schemas.microsoft.com/office/drawing/2014/main" id="{FE90ADE4-73C0-9462-1ADF-BB2C208C645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60134" y="3540452"/>
            <a:ext cx="4336156" cy="2421074"/>
          </a:xfrm>
          <a:prstGeom prst="rect">
            <a:avLst/>
          </a:prstGeom>
        </p:spPr>
      </p:pic>
      <p:sp>
        <p:nvSpPr>
          <p:cNvPr id="14" name="テキスト ボックス 13">
            <a:extLst>
              <a:ext uri="{FF2B5EF4-FFF2-40B4-BE49-F238E27FC236}">
                <a16:creationId xmlns:a16="http://schemas.microsoft.com/office/drawing/2014/main" id="{BB937D9D-39A4-925B-DA97-71B750C8B704}"/>
              </a:ext>
            </a:extLst>
          </p:cNvPr>
          <p:cNvSpPr txBox="1"/>
          <p:nvPr/>
        </p:nvSpPr>
        <p:spPr>
          <a:xfrm>
            <a:off x="710195" y="3540452"/>
            <a:ext cx="4294240" cy="307777"/>
          </a:xfrm>
          <a:prstGeom prst="rect">
            <a:avLst/>
          </a:prstGeom>
          <a:noFill/>
        </p:spPr>
        <p:txBody>
          <a:bodyPr wrap="square" rtlCol="0">
            <a:spAutoFit/>
          </a:bodyPr>
          <a:lstStyle/>
          <a:p>
            <a:pPr algn="l"/>
            <a:r>
              <a:rPr kumimoji="1" lang="ja-JP" altLang="en-US" sz="1400" dirty="0">
                <a:solidFill>
                  <a:schemeClr val="tx1"/>
                </a:solidFill>
                <a:latin typeface="Meiryo UI" panose="020B0604030504040204" pitchFamily="50" charset="-128"/>
                <a:ea typeface="Meiryo UI" panose="020B0604030504040204" pitchFamily="50" charset="-128"/>
              </a:rPr>
              <a:t>さんふらわあ くれない</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B338D988-B293-B8F8-CD59-7EA5D8DBEC7D}"/>
              </a:ext>
            </a:extLst>
          </p:cNvPr>
          <p:cNvSpPr txBox="1"/>
          <p:nvPr/>
        </p:nvSpPr>
        <p:spPr>
          <a:xfrm>
            <a:off x="7560134" y="5990430"/>
            <a:ext cx="3859632" cy="307777"/>
          </a:xfrm>
          <a:prstGeom prst="rect">
            <a:avLst/>
          </a:prstGeom>
          <a:noFill/>
        </p:spPr>
        <p:txBody>
          <a:bodyPr wrap="square" rtlCol="0">
            <a:spAutoFit/>
          </a:bodyPr>
          <a:lstStyle/>
          <a:p>
            <a:pPr algn="l"/>
            <a:r>
              <a:rPr kumimoji="1" lang="ja-JP" altLang="en-US" sz="1400" dirty="0">
                <a:solidFill>
                  <a:schemeClr val="tx1"/>
                </a:solidFill>
                <a:latin typeface="Meiryo UI" panose="020B0604030504040204" pitchFamily="50" charset="-128"/>
                <a:ea typeface="Meiryo UI" panose="020B0604030504040204" pitchFamily="50" charset="-128"/>
              </a:rPr>
              <a:t>さんふらわあ むらさき</a:t>
            </a:r>
            <a:r>
              <a:rPr kumimoji="1" lang="en-US" altLang="ja-JP" sz="1400" dirty="0">
                <a:solidFill>
                  <a:schemeClr val="tx1"/>
                </a:solidFill>
                <a:latin typeface="Meiryo UI" panose="020B0604030504040204" pitchFamily="50" charset="-128"/>
                <a:ea typeface="Meiryo UI" panose="020B0604030504040204" pitchFamily="50" charset="-128"/>
              </a:rPr>
              <a:t> </a:t>
            </a:r>
          </a:p>
        </p:txBody>
      </p:sp>
      <p:sp>
        <p:nvSpPr>
          <p:cNvPr id="4" name="スライド番号プレースホルダー 3">
            <a:extLst>
              <a:ext uri="{FF2B5EF4-FFF2-40B4-BE49-F238E27FC236}">
                <a16:creationId xmlns:a16="http://schemas.microsoft.com/office/drawing/2014/main" id="{8CAE00CC-E1B8-99A2-FE8D-16C5A219A479}"/>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
        <p:nvSpPr>
          <p:cNvPr id="3" name="タイトル 6">
            <a:extLst>
              <a:ext uri="{FF2B5EF4-FFF2-40B4-BE49-F238E27FC236}">
                <a16:creationId xmlns:a16="http://schemas.microsoft.com/office/drawing/2014/main" id="{B3C87816-C489-6E5E-C7B1-FD9ADF357B62}"/>
              </a:ext>
            </a:extLst>
          </p:cNvPr>
          <p:cNvSpPr>
            <a:spLocks noGrp="1"/>
          </p:cNvSpPr>
          <p:nvPr>
            <p:ph type="title"/>
          </p:nvPr>
        </p:nvSpPr>
        <p:spPr>
          <a:xfrm>
            <a:off x="905505" y="301096"/>
            <a:ext cx="10235442" cy="323165"/>
          </a:xfrm>
        </p:spPr>
        <p:txBody>
          <a:bodyPr/>
          <a:lstStyle/>
          <a:p>
            <a:r>
              <a:rPr lang="en-US" altLang="ja-JP" dirty="0"/>
              <a:t>LNG</a:t>
            </a:r>
            <a:r>
              <a:rPr lang="ja-JP" altLang="en-US" dirty="0"/>
              <a:t>燃料フェリー「さんふらわあ くれない・むらさき」の概要 　</a:t>
            </a:r>
          </a:p>
        </p:txBody>
      </p:sp>
      <p:pic>
        <p:nvPicPr>
          <p:cNvPr id="7" name="図 6" descr="マップ&#10;&#10;自動的に生成された説明">
            <a:extLst>
              <a:ext uri="{FF2B5EF4-FFF2-40B4-BE49-F238E27FC236}">
                <a16:creationId xmlns:a16="http://schemas.microsoft.com/office/drawing/2014/main" id="{15E483A7-D4D2-9C81-BD62-00361380889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6809" y="3877133"/>
            <a:ext cx="6350939" cy="2375077"/>
          </a:xfrm>
          <a:prstGeom prst="rect">
            <a:avLst/>
          </a:prstGeom>
        </p:spPr>
      </p:pic>
    </p:spTree>
    <p:extLst>
      <p:ext uri="{BB962C8B-B14F-4D97-AF65-F5344CB8AC3E}">
        <p14:creationId xmlns:p14="http://schemas.microsoft.com/office/powerpoint/2010/main" val="722576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CAE00CC-E1B8-99A2-FE8D-16C5A219A479}"/>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2</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
        <p:nvSpPr>
          <p:cNvPr id="3" name="タイトル 6">
            <a:extLst>
              <a:ext uri="{FF2B5EF4-FFF2-40B4-BE49-F238E27FC236}">
                <a16:creationId xmlns:a16="http://schemas.microsoft.com/office/drawing/2014/main" id="{B3C87816-C489-6E5E-C7B1-FD9ADF357B62}"/>
              </a:ext>
            </a:extLst>
          </p:cNvPr>
          <p:cNvSpPr>
            <a:spLocks noGrp="1"/>
          </p:cNvSpPr>
          <p:nvPr>
            <p:ph type="title"/>
          </p:nvPr>
        </p:nvSpPr>
        <p:spPr>
          <a:xfrm>
            <a:off x="905505" y="301096"/>
            <a:ext cx="10235442" cy="323165"/>
          </a:xfrm>
        </p:spPr>
        <p:txBody>
          <a:bodyPr/>
          <a:lstStyle/>
          <a:p>
            <a:r>
              <a:rPr lang="en-US" altLang="ja-JP" dirty="0"/>
              <a:t>LNG</a:t>
            </a:r>
            <a:r>
              <a:rPr lang="ja-JP" altLang="en-US" dirty="0"/>
              <a:t>燃料フェリー「さんふらわあ くれない・むらさき」の概要　～環境への配慮～ 　</a:t>
            </a:r>
          </a:p>
        </p:txBody>
      </p:sp>
      <p:pic>
        <p:nvPicPr>
          <p:cNvPr id="5" name="図 4">
            <a:extLst>
              <a:ext uri="{FF2B5EF4-FFF2-40B4-BE49-F238E27FC236}">
                <a16:creationId xmlns:a16="http://schemas.microsoft.com/office/drawing/2014/main" id="{D20A5C47-7C16-6BD9-356C-4E4FD355B11C}"/>
              </a:ext>
            </a:extLst>
          </p:cNvPr>
          <p:cNvPicPr>
            <a:picLocks noChangeAspect="1"/>
          </p:cNvPicPr>
          <p:nvPr/>
        </p:nvPicPr>
        <p:blipFill>
          <a:blip r:embed="rId2"/>
          <a:stretch>
            <a:fillRect/>
          </a:stretch>
        </p:blipFill>
        <p:spPr>
          <a:xfrm>
            <a:off x="1003161" y="3791830"/>
            <a:ext cx="5308864" cy="2491120"/>
          </a:xfrm>
          <a:prstGeom prst="rect">
            <a:avLst/>
          </a:prstGeom>
        </p:spPr>
      </p:pic>
      <p:pic>
        <p:nvPicPr>
          <p:cNvPr id="12" name="図 11" descr="屋外, 道路, 船舶, 大きい が含まれている画像&#10;&#10;自動的に生成された説明">
            <a:extLst>
              <a:ext uri="{FF2B5EF4-FFF2-40B4-BE49-F238E27FC236}">
                <a16:creationId xmlns:a16="http://schemas.microsoft.com/office/drawing/2014/main" id="{7F4C1C41-B80C-15C1-C014-22C4031DBC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30951" y="3809586"/>
            <a:ext cx="3868484" cy="2401684"/>
          </a:xfrm>
          <a:prstGeom prst="rect">
            <a:avLst/>
          </a:prstGeom>
        </p:spPr>
      </p:pic>
      <p:sp>
        <p:nvSpPr>
          <p:cNvPr id="16" name="テキスト ボックス 15">
            <a:extLst>
              <a:ext uri="{FF2B5EF4-FFF2-40B4-BE49-F238E27FC236}">
                <a16:creationId xmlns:a16="http://schemas.microsoft.com/office/drawing/2014/main" id="{01AD0DBB-A67F-44CB-3582-869DDEB4A67A}"/>
              </a:ext>
            </a:extLst>
          </p:cNvPr>
          <p:cNvSpPr txBox="1"/>
          <p:nvPr/>
        </p:nvSpPr>
        <p:spPr>
          <a:xfrm>
            <a:off x="982663" y="885369"/>
            <a:ext cx="10375142" cy="2863220"/>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ポイント①　</a:t>
            </a:r>
            <a:r>
              <a:rPr kumimoji="1" lang="ja-JP" altLang="en-US" b="1" u="sng" dirty="0">
                <a:solidFill>
                  <a:srgbClr val="005396"/>
                </a:solidFill>
                <a:latin typeface="Meiryo UI" panose="020B0604030504040204" pitchFamily="50" charset="-128"/>
                <a:ea typeface="Meiryo UI" panose="020B0604030504040204" pitchFamily="50" charset="-128"/>
              </a:rPr>
              <a:t>温室効果ガス、大気汚染の原因を大幅削減</a:t>
            </a:r>
            <a:endParaRPr kumimoji="1" lang="en-US" altLang="ja-JP" b="1" u="sng"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国内フェリー初となる</a:t>
            </a: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と重油それぞれを燃料として使用できる高性能</a:t>
            </a:r>
            <a:r>
              <a:rPr kumimoji="1" lang="en-US" altLang="ja-JP" dirty="0">
                <a:latin typeface="Meiryo UI" panose="020B0604030504040204" pitchFamily="50" charset="-128"/>
                <a:ea typeface="Meiryo UI" panose="020B0604030504040204" pitchFamily="50" charset="-128"/>
              </a:rPr>
              <a:t>Dual Fuel</a:t>
            </a:r>
            <a:r>
              <a:rPr kumimoji="1" lang="ja-JP" altLang="en-US" dirty="0">
                <a:latin typeface="Meiryo UI" panose="020B0604030504040204" pitchFamily="50" charset="-128"/>
                <a:ea typeface="Meiryo UI" panose="020B0604030504040204" pitchFamily="50" charset="-128"/>
              </a:rPr>
              <a:t>エンジンを搭載</a:t>
            </a:r>
            <a:endParaRPr kumimoji="1" lang="en-US" altLang="ja-JP" dirty="0">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燃料を使用することで、二酸化炭素（</a:t>
            </a:r>
            <a:r>
              <a:rPr kumimoji="1" lang="en-US" altLang="ja-JP" dirty="0">
                <a:latin typeface="Meiryo UI" panose="020B0604030504040204" pitchFamily="50" charset="-128"/>
                <a:ea typeface="Meiryo UI" panose="020B0604030504040204" pitchFamily="50" charset="-128"/>
              </a:rPr>
              <a:t>CO2</a:t>
            </a:r>
            <a:r>
              <a:rPr kumimoji="1" lang="ja-JP" altLang="en-US" dirty="0">
                <a:latin typeface="Meiryo UI" panose="020B0604030504040204" pitchFamily="50" charset="-128"/>
                <a:ea typeface="Meiryo UI" panose="020B0604030504040204" pitchFamily="50" charset="-128"/>
              </a:rPr>
              <a:t>）を約</a:t>
            </a:r>
            <a:r>
              <a:rPr kumimoji="1" lang="en-US" altLang="ja-JP" dirty="0">
                <a:latin typeface="Meiryo UI" panose="020B0604030504040204" pitchFamily="50" charset="-128"/>
                <a:ea typeface="Meiryo UI" panose="020B0604030504040204" pitchFamily="50" charset="-128"/>
              </a:rPr>
              <a:t>25</a:t>
            </a:r>
            <a:r>
              <a:rPr kumimoji="1" lang="ja-JP" altLang="en-US" dirty="0">
                <a:latin typeface="Meiryo UI" panose="020B0604030504040204" pitchFamily="50" charset="-128"/>
                <a:ea typeface="Meiryo UI" panose="020B0604030504040204" pitchFamily="50" charset="-128"/>
              </a:rPr>
              <a:t>％、硫黄酸化物（</a:t>
            </a:r>
            <a:r>
              <a:rPr kumimoji="1" lang="en-US" altLang="ja-JP" dirty="0" err="1">
                <a:latin typeface="Meiryo UI" panose="020B0604030504040204" pitchFamily="50" charset="-128"/>
                <a:ea typeface="Meiryo UI" panose="020B0604030504040204" pitchFamily="50" charset="-128"/>
              </a:rPr>
              <a:t>SOx</a:t>
            </a:r>
            <a:r>
              <a:rPr kumimoji="1" lang="ja-JP" altLang="en-US" dirty="0">
                <a:latin typeface="Meiryo UI" panose="020B0604030504040204" pitchFamily="50" charset="-128"/>
                <a:ea typeface="Meiryo UI" panose="020B0604030504040204" pitchFamily="50" charset="-128"/>
              </a:rPr>
              <a:t>）を</a:t>
            </a:r>
            <a:r>
              <a:rPr kumimoji="1" lang="en-US" altLang="ja-JP" dirty="0">
                <a:latin typeface="Meiryo UI" panose="020B0604030504040204" pitchFamily="50" charset="-128"/>
                <a:ea typeface="Meiryo UI" panose="020B0604030504040204" pitchFamily="50" charset="-128"/>
              </a:rPr>
              <a:t>100</a:t>
            </a:r>
            <a:r>
              <a:rPr kumimoji="1" lang="ja-JP" altLang="en-US" dirty="0">
                <a:latin typeface="Meiryo UI" panose="020B0604030504040204" pitchFamily="50" charset="-128"/>
                <a:ea typeface="Meiryo UI" panose="020B0604030504040204" pitchFamily="50" charset="-128"/>
              </a:rPr>
              <a:t>％、</a:t>
            </a:r>
            <a:br>
              <a:rPr kumimoji="1" lang="en-US" altLang="ja-JP"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窒素酸化物（</a:t>
            </a:r>
            <a:r>
              <a:rPr kumimoji="1" lang="en-US" altLang="ja-JP" dirty="0">
                <a:latin typeface="Meiryo UI" panose="020B0604030504040204" pitchFamily="50" charset="-128"/>
                <a:ea typeface="Meiryo UI" panose="020B0604030504040204" pitchFamily="50" charset="-128"/>
              </a:rPr>
              <a:t>NOx</a:t>
            </a:r>
            <a:r>
              <a:rPr kumimoji="1" lang="ja-JP" altLang="en-US" dirty="0">
                <a:latin typeface="Meiryo UI" panose="020B0604030504040204" pitchFamily="50" charset="-128"/>
                <a:ea typeface="Meiryo UI" panose="020B0604030504040204" pitchFamily="50" charset="-128"/>
              </a:rPr>
              <a:t>）を約</a:t>
            </a:r>
            <a:r>
              <a:rPr kumimoji="1" lang="en-US" altLang="ja-JP" dirty="0">
                <a:latin typeface="Meiryo UI" panose="020B0604030504040204" pitchFamily="50" charset="-128"/>
                <a:ea typeface="Meiryo UI" panose="020B0604030504040204" pitchFamily="50" charset="-128"/>
              </a:rPr>
              <a:t>85</a:t>
            </a:r>
            <a:r>
              <a:rPr kumimoji="1" lang="ja-JP" altLang="en-US" dirty="0">
                <a:latin typeface="Meiryo UI" panose="020B0604030504040204" pitchFamily="50" charset="-128"/>
                <a:ea typeface="Meiryo UI" panose="020B0604030504040204" pitchFamily="50" charset="-128"/>
              </a:rPr>
              <a:t>％、排出削減</a:t>
            </a:r>
          </a:p>
          <a:p>
            <a:pPr>
              <a:lnSpc>
                <a:spcPts val="1000"/>
              </a:lnSpc>
            </a:pPr>
            <a:endParaRPr kumimoji="1" lang="en-US" altLang="ja-JP" dirty="0">
              <a:solidFill>
                <a:schemeClr val="tx1"/>
              </a:solidFill>
              <a:latin typeface="Meiryo UI" panose="020B0604030504040204" pitchFamily="50" charset="-128"/>
              <a:ea typeface="Meiryo UI" panose="020B0604030504040204" pitchFamily="50" charset="-128"/>
            </a:endParaRPr>
          </a:p>
          <a:p>
            <a:pPr algn="l">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ポイント②　</a:t>
            </a:r>
            <a:r>
              <a:rPr kumimoji="1" lang="ja-JP" altLang="en-US" b="1" u="sng" dirty="0">
                <a:solidFill>
                  <a:srgbClr val="005396"/>
                </a:solidFill>
                <a:latin typeface="Meiryo UI" panose="020B0604030504040204" pitchFamily="50" charset="-128"/>
                <a:ea typeface="Meiryo UI" panose="020B0604030504040204" pitchFamily="50" charset="-128"/>
              </a:rPr>
              <a:t>物流業界の「</a:t>
            </a:r>
            <a:r>
              <a:rPr kumimoji="1" lang="en-US" altLang="ja-JP" b="1" u="sng" dirty="0">
                <a:solidFill>
                  <a:srgbClr val="005396"/>
                </a:solidFill>
                <a:latin typeface="Meiryo UI" panose="020B0604030504040204" pitchFamily="50" charset="-128"/>
                <a:ea typeface="Meiryo UI" panose="020B0604030504040204" pitchFamily="50" charset="-128"/>
              </a:rPr>
              <a:t>2024</a:t>
            </a:r>
            <a:r>
              <a:rPr kumimoji="1" lang="ja-JP" altLang="en-US" b="1" u="sng" dirty="0">
                <a:solidFill>
                  <a:srgbClr val="005396"/>
                </a:solidFill>
                <a:latin typeface="Meiryo UI" panose="020B0604030504040204" pitchFamily="50" charset="-128"/>
                <a:ea typeface="Meiryo UI" panose="020B0604030504040204" pitchFamily="50" charset="-128"/>
              </a:rPr>
              <a:t>年問題」と地球温暖化、</a:t>
            </a:r>
            <a:r>
              <a:rPr kumimoji="1" lang="en-US" altLang="ja-JP" b="1" u="sng" dirty="0">
                <a:solidFill>
                  <a:srgbClr val="005396"/>
                </a:solidFill>
                <a:latin typeface="Meiryo UI" panose="020B0604030504040204" pitchFamily="50" charset="-128"/>
                <a:ea typeface="Meiryo UI" panose="020B0604030504040204" pitchFamily="50" charset="-128"/>
              </a:rPr>
              <a:t>2</a:t>
            </a:r>
            <a:r>
              <a:rPr kumimoji="1" lang="ja-JP" altLang="en-US" b="1" u="sng" dirty="0">
                <a:solidFill>
                  <a:srgbClr val="005396"/>
                </a:solidFill>
                <a:latin typeface="Meiryo UI" panose="020B0604030504040204" pitchFamily="50" charset="-128"/>
                <a:ea typeface="Meiryo UI" panose="020B0604030504040204" pitchFamily="50" charset="-128"/>
              </a:rPr>
              <a:t>つの社会問題に貢献</a:t>
            </a: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トラック積載台数を従来船に比べ、約</a:t>
            </a:r>
            <a:r>
              <a:rPr kumimoji="1" lang="en-US" altLang="ja-JP" dirty="0">
                <a:latin typeface="Meiryo UI" panose="020B0604030504040204" pitchFamily="50" charset="-128"/>
                <a:ea typeface="Meiryo UI" panose="020B0604030504040204" pitchFamily="50" charset="-128"/>
              </a:rPr>
              <a:t>1.5</a:t>
            </a:r>
            <a:r>
              <a:rPr kumimoji="1" lang="ja-JP" altLang="en-US" dirty="0">
                <a:latin typeface="Meiryo UI" panose="020B0604030504040204" pitchFamily="50" charset="-128"/>
                <a:ea typeface="Meiryo UI" panose="020B0604030504040204" pitchFamily="50" charset="-128"/>
              </a:rPr>
              <a:t>倍に増量</a:t>
            </a: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全室個室のドライバーズルームをはじめとするトラックドライバー区画を整備</a:t>
            </a:r>
          </a:p>
        </p:txBody>
      </p:sp>
    </p:spTree>
    <p:extLst>
      <p:ext uri="{BB962C8B-B14F-4D97-AF65-F5344CB8AC3E}">
        <p14:creationId xmlns:p14="http://schemas.microsoft.com/office/powerpoint/2010/main" val="1835882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CAE00CC-E1B8-99A2-FE8D-16C5A219A479}"/>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3</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
        <p:nvSpPr>
          <p:cNvPr id="3" name="タイトル 6">
            <a:extLst>
              <a:ext uri="{FF2B5EF4-FFF2-40B4-BE49-F238E27FC236}">
                <a16:creationId xmlns:a16="http://schemas.microsoft.com/office/drawing/2014/main" id="{B3C87816-C489-6E5E-C7B1-FD9ADF357B62}"/>
              </a:ext>
            </a:extLst>
          </p:cNvPr>
          <p:cNvSpPr>
            <a:spLocks noGrp="1"/>
          </p:cNvSpPr>
          <p:nvPr>
            <p:ph type="title"/>
          </p:nvPr>
        </p:nvSpPr>
        <p:spPr>
          <a:xfrm>
            <a:off x="905505" y="301096"/>
            <a:ext cx="10235442" cy="323165"/>
          </a:xfrm>
        </p:spPr>
        <p:txBody>
          <a:bodyPr/>
          <a:lstStyle/>
          <a:p>
            <a:r>
              <a:rPr lang="en-US" altLang="ja-JP" dirty="0"/>
              <a:t>LNG</a:t>
            </a:r>
            <a:r>
              <a:rPr lang="ja-JP" altLang="en-US" dirty="0"/>
              <a:t>燃料フェリー「さんふらわあ くれない・むらさき」の概要　～お客様の快適性～ 　</a:t>
            </a:r>
          </a:p>
        </p:txBody>
      </p:sp>
      <p:sp>
        <p:nvSpPr>
          <p:cNvPr id="16" name="テキスト ボックス 15">
            <a:extLst>
              <a:ext uri="{FF2B5EF4-FFF2-40B4-BE49-F238E27FC236}">
                <a16:creationId xmlns:a16="http://schemas.microsoft.com/office/drawing/2014/main" id="{01AD0DBB-A67F-44CB-3582-869DDEB4A67A}"/>
              </a:ext>
            </a:extLst>
          </p:cNvPr>
          <p:cNvSpPr txBox="1"/>
          <p:nvPr/>
        </p:nvSpPr>
        <p:spPr>
          <a:xfrm>
            <a:off x="982663" y="885369"/>
            <a:ext cx="10375142" cy="2863220"/>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ポイント③　</a:t>
            </a:r>
            <a:r>
              <a:rPr kumimoji="1" lang="en-US" altLang="ja-JP" b="1" u="sng" dirty="0">
                <a:solidFill>
                  <a:srgbClr val="005396"/>
                </a:solidFill>
                <a:latin typeface="Meiryo UI" panose="020B0604030504040204" pitchFamily="50" charset="-128"/>
                <a:ea typeface="Meiryo UI" panose="020B0604030504040204" pitchFamily="50" charset="-128"/>
              </a:rPr>
              <a:t>KIZUNA</a:t>
            </a:r>
            <a:r>
              <a:rPr kumimoji="1" lang="ja-JP" altLang="en-US" b="1" u="sng" dirty="0">
                <a:solidFill>
                  <a:srgbClr val="005396"/>
                </a:solidFill>
                <a:latin typeface="Meiryo UI" panose="020B0604030504040204" pitchFamily="50" charset="-128"/>
                <a:ea typeface="Meiryo UI" panose="020B0604030504040204" pitchFamily="50" charset="-128"/>
              </a:rPr>
              <a:t>をテーマにした長距離フェリー初のコネクティングルーム</a:t>
            </a:r>
            <a:endParaRPr kumimoji="1" lang="en-US" altLang="ja-JP" b="1" u="sng"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世代がひとつの部屋で過ごすことができる広々とした客室空間。</a:t>
            </a:r>
            <a:br>
              <a:rPr kumimoji="1" lang="en-US" altLang="ja-JP"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家族や友人のつながり＝「きずな（</a:t>
            </a:r>
            <a:r>
              <a:rPr kumimoji="1" lang="en-US" altLang="ja-JP" dirty="0">
                <a:latin typeface="Meiryo UI" panose="020B0604030504040204" pitchFamily="50" charset="-128"/>
                <a:ea typeface="Meiryo UI" panose="020B0604030504040204" pitchFamily="50" charset="-128"/>
              </a:rPr>
              <a:t>KIZUNA</a:t>
            </a:r>
            <a:r>
              <a:rPr kumimoji="1" lang="ja-JP" altLang="en-US" dirty="0">
                <a:latin typeface="Meiryo UI" panose="020B0604030504040204" pitchFamily="50" charset="-128"/>
                <a:ea typeface="Meiryo UI" panose="020B0604030504040204" pitchFamily="50" charset="-128"/>
              </a:rPr>
              <a:t>）」を再認識する場をお客様に提供</a:t>
            </a:r>
            <a:endParaRPr kumimoji="1" lang="en-US" altLang="ja-JP" dirty="0">
              <a:latin typeface="Meiryo UI" panose="020B0604030504040204" pitchFamily="50" charset="-128"/>
              <a:ea typeface="Meiryo UI" panose="020B0604030504040204" pitchFamily="50" charset="-128"/>
            </a:endParaRPr>
          </a:p>
          <a:p>
            <a:pPr>
              <a:lnSpc>
                <a:spcPts val="1000"/>
              </a:lnSpc>
            </a:pPr>
            <a:endParaRPr kumimoji="1" lang="en-US" altLang="ja-JP" b="1" u="sng" dirty="0">
              <a:solidFill>
                <a:srgbClr val="005396"/>
              </a:solidFill>
              <a:latin typeface="Meiryo UI" panose="020B0604030504040204" pitchFamily="50" charset="-128"/>
              <a:ea typeface="Meiryo UI" panose="020B0604030504040204" pitchFamily="50" charset="-128"/>
            </a:endParaRPr>
          </a:p>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ポイント④　</a:t>
            </a:r>
            <a:r>
              <a:rPr kumimoji="1" lang="ja-JP" altLang="en-US" b="1" u="sng" dirty="0">
                <a:solidFill>
                  <a:srgbClr val="005396"/>
                </a:solidFill>
                <a:latin typeface="Meiryo UI" panose="020B0604030504040204" pitchFamily="50" charset="-128"/>
                <a:ea typeface="Meiryo UI" panose="020B0604030504040204" pitchFamily="50" charset="-128"/>
              </a:rPr>
              <a:t>多様なニーズに対応したユニバーサルデザイン</a:t>
            </a: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船内には、多機能トイレやベビーケアルーム、</a:t>
            </a:r>
            <a:br>
              <a:rPr kumimoji="1" lang="en-US" altLang="ja-JP"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ターミナルには、祈祷室やカームダウン・クールダウンルームなどを設置。</a:t>
            </a:r>
            <a:br>
              <a:rPr kumimoji="1" lang="en-US" altLang="ja-JP"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多種多様な文化に対応した施設も特徴</a:t>
            </a:r>
            <a:endParaRPr kumimoji="1" lang="en-US" altLang="ja-JP" b="1" dirty="0">
              <a:solidFill>
                <a:srgbClr val="005396"/>
              </a:solidFill>
              <a:latin typeface="Meiryo UI" panose="020B0604030504040204" pitchFamily="50" charset="-128"/>
              <a:ea typeface="Meiryo UI" panose="020B0604030504040204" pitchFamily="50" charset="-128"/>
            </a:endParaRPr>
          </a:p>
        </p:txBody>
      </p:sp>
      <p:pic>
        <p:nvPicPr>
          <p:cNvPr id="13" name="図 12">
            <a:extLst>
              <a:ext uri="{FF2B5EF4-FFF2-40B4-BE49-F238E27FC236}">
                <a16:creationId xmlns:a16="http://schemas.microsoft.com/office/drawing/2014/main" id="{F32669F0-F834-F458-446A-AF145C4C60E6}"/>
              </a:ext>
            </a:extLst>
          </p:cNvPr>
          <p:cNvPicPr>
            <a:picLocks noChangeAspect="1"/>
          </p:cNvPicPr>
          <p:nvPr/>
        </p:nvPicPr>
        <p:blipFill>
          <a:blip r:embed="rId2"/>
          <a:stretch>
            <a:fillRect/>
          </a:stretch>
        </p:blipFill>
        <p:spPr>
          <a:xfrm>
            <a:off x="909511" y="3701301"/>
            <a:ext cx="4958837" cy="2262029"/>
          </a:xfrm>
          <a:prstGeom prst="rect">
            <a:avLst/>
          </a:prstGeom>
        </p:spPr>
      </p:pic>
      <p:pic>
        <p:nvPicPr>
          <p:cNvPr id="15" name="図 14">
            <a:extLst>
              <a:ext uri="{FF2B5EF4-FFF2-40B4-BE49-F238E27FC236}">
                <a16:creationId xmlns:a16="http://schemas.microsoft.com/office/drawing/2014/main" id="{4D05EB86-FF33-3814-EA8D-F0E890EC01A2}"/>
              </a:ext>
            </a:extLst>
          </p:cNvPr>
          <p:cNvPicPr>
            <a:picLocks noChangeAspect="1"/>
          </p:cNvPicPr>
          <p:nvPr/>
        </p:nvPicPr>
        <p:blipFill>
          <a:blip r:embed="rId3"/>
          <a:stretch>
            <a:fillRect/>
          </a:stretch>
        </p:blipFill>
        <p:spPr>
          <a:xfrm>
            <a:off x="5802875" y="3675619"/>
            <a:ext cx="5657605" cy="2320616"/>
          </a:xfrm>
          <a:prstGeom prst="rect">
            <a:avLst/>
          </a:prstGeom>
        </p:spPr>
      </p:pic>
    </p:spTree>
    <p:extLst>
      <p:ext uri="{BB962C8B-B14F-4D97-AF65-F5344CB8AC3E}">
        <p14:creationId xmlns:p14="http://schemas.microsoft.com/office/powerpoint/2010/main" val="20650065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8CAE00CC-E1B8-99A2-FE8D-16C5A219A479}"/>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4</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
        <p:nvSpPr>
          <p:cNvPr id="3" name="タイトル 6">
            <a:extLst>
              <a:ext uri="{FF2B5EF4-FFF2-40B4-BE49-F238E27FC236}">
                <a16:creationId xmlns:a16="http://schemas.microsoft.com/office/drawing/2014/main" id="{B3C87816-C489-6E5E-C7B1-FD9ADF357B62}"/>
              </a:ext>
            </a:extLst>
          </p:cNvPr>
          <p:cNvSpPr>
            <a:spLocks noGrp="1"/>
          </p:cNvSpPr>
          <p:nvPr>
            <p:ph type="title"/>
          </p:nvPr>
        </p:nvSpPr>
        <p:spPr>
          <a:xfrm>
            <a:off x="905505" y="301096"/>
            <a:ext cx="10235442" cy="323165"/>
          </a:xfrm>
        </p:spPr>
        <p:txBody>
          <a:bodyPr/>
          <a:lstStyle/>
          <a:p>
            <a:r>
              <a:rPr lang="en-US" altLang="ja-JP" dirty="0"/>
              <a:t>LNG</a:t>
            </a:r>
            <a:r>
              <a:rPr lang="ja-JP" altLang="en-US" dirty="0"/>
              <a:t>燃料フェリー「さんふらわあ くれない・むらさき」の概要　～お客様の快適性～ 　</a:t>
            </a:r>
          </a:p>
        </p:txBody>
      </p:sp>
      <p:sp>
        <p:nvSpPr>
          <p:cNvPr id="16" name="テキスト ボックス 15">
            <a:extLst>
              <a:ext uri="{FF2B5EF4-FFF2-40B4-BE49-F238E27FC236}">
                <a16:creationId xmlns:a16="http://schemas.microsoft.com/office/drawing/2014/main" id="{01AD0DBB-A67F-44CB-3582-869DDEB4A67A}"/>
              </a:ext>
            </a:extLst>
          </p:cNvPr>
          <p:cNvSpPr txBox="1"/>
          <p:nvPr/>
        </p:nvSpPr>
        <p:spPr>
          <a:xfrm>
            <a:off x="982663" y="885369"/>
            <a:ext cx="10375142" cy="1196097"/>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ポイント⑤　</a:t>
            </a:r>
            <a:r>
              <a:rPr kumimoji="1" lang="ja-JP" altLang="en-US" b="1" u="sng" dirty="0">
                <a:solidFill>
                  <a:srgbClr val="005396"/>
                </a:solidFill>
                <a:latin typeface="Meiryo UI" panose="020B0604030504040204" pitchFamily="50" charset="-128"/>
                <a:ea typeface="Meiryo UI" panose="020B0604030504040204" pitchFamily="50" charset="-128"/>
              </a:rPr>
              <a:t>移動そのものを楽しむ「カジュアルクルーズ」という船旅</a:t>
            </a:r>
            <a:endParaRPr kumimoji="1" lang="en-US" altLang="ja-JP" b="1" u="sng"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レストランや展望大浴場、プロジェクションマッピングによる演出など、船内に「楽しむ」ための</a:t>
            </a:r>
            <a:br>
              <a:rPr kumimoji="1" lang="en-US" altLang="ja-JP"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仕掛けを多数用意。 エンタメ性ある演出で、新たな船旅のカテゴリーを創出</a:t>
            </a:r>
            <a:endParaRPr kumimoji="1" lang="en-US" altLang="ja-JP" b="1" u="sng" dirty="0">
              <a:solidFill>
                <a:srgbClr val="005396"/>
              </a:solidFill>
              <a:latin typeface="Meiryo UI" panose="020B0604030504040204" pitchFamily="50" charset="-128"/>
              <a:ea typeface="Meiryo UI" panose="020B0604030504040204" pitchFamily="50" charset="-128"/>
            </a:endParaRPr>
          </a:p>
        </p:txBody>
      </p:sp>
      <p:pic>
        <p:nvPicPr>
          <p:cNvPr id="18" name="図 17">
            <a:extLst>
              <a:ext uri="{FF2B5EF4-FFF2-40B4-BE49-F238E27FC236}">
                <a16:creationId xmlns:a16="http://schemas.microsoft.com/office/drawing/2014/main" id="{ABA9F072-0249-A831-A13C-9FC3E4877672}"/>
              </a:ext>
            </a:extLst>
          </p:cNvPr>
          <p:cNvPicPr>
            <a:picLocks noChangeAspect="1"/>
          </p:cNvPicPr>
          <p:nvPr/>
        </p:nvPicPr>
        <p:blipFill>
          <a:blip r:embed="rId2"/>
          <a:stretch>
            <a:fillRect/>
          </a:stretch>
        </p:blipFill>
        <p:spPr>
          <a:xfrm>
            <a:off x="1785556" y="2295981"/>
            <a:ext cx="8181975" cy="3676650"/>
          </a:xfrm>
          <a:prstGeom prst="rect">
            <a:avLst/>
          </a:prstGeom>
        </p:spPr>
      </p:pic>
    </p:spTree>
    <p:extLst>
      <p:ext uri="{BB962C8B-B14F-4D97-AF65-F5344CB8AC3E}">
        <p14:creationId xmlns:p14="http://schemas.microsoft.com/office/powerpoint/2010/main" val="16131034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D8F09B92-3AF9-25D1-2DA2-B3C9F0264349}"/>
              </a:ext>
            </a:extLst>
          </p:cNvPr>
          <p:cNvSpPr txBox="1"/>
          <p:nvPr/>
        </p:nvSpPr>
        <p:spPr>
          <a:xfrm>
            <a:off x="982663" y="885369"/>
            <a:ext cx="10375142" cy="2863220"/>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成果①　</a:t>
            </a:r>
            <a:r>
              <a:rPr kumimoji="1" lang="ja-JP" altLang="en-US" b="1" u="sng" dirty="0">
                <a:solidFill>
                  <a:srgbClr val="005396"/>
                </a:solidFill>
                <a:latin typeface="Meiryo UI" panose="020B0604030504040204" pitchFamily="50" charset="-128"/>
                <a:ea typeface="Meiryo UI" panose="020B0604030504040204" pitchFamily="50" charset="-128"/>
              </a:rPr>
              <a:t>航路沿岸及び港湾地域での大気汚染防止に貢献</a:t>
            </a:r>
            <a:endParaRPr kumimoji="1" lang="en-US" altLang="ja-JP" b="1" u="sng"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燃料を停泊中や出入港時も含め、高い実績で安定使用</a:t>
            </a:r>
            <a:endParaRPr kumimoji="1" lang="en-US" altLang="ja-JP" dirty="0">
              <a:latin typeface="Meiryo UI" panose="020B0604030504040204" pitchFamily="50" charset="-128"/>
              <a:ea typeface="Meiryo UI" panose="020B0604030504040204" pitchFamily="50" charset="-128"/>
            </a:endParaRPr>
          </a:p>
          <a:p>
            <a:pPr marL="794250">
              <a:lnSpc>
                <a:spcPts val="3000"/>
              </a:lnSpc>
            </a:pPr>
            <a:r>
              <a:rPr kumimoji="1" lang="en-US" altLang="ja-JP" dirty="0">
                <a:solidFill>
                  <a:schemeClr val="tx1"/>
                </a:solidFill>
                <a:latin typeface="Meiryo UI" panose="020B0604030504040204" pitchFamily="50" charset="-128"/>
                <a:ea typeface="Meiryo UI" panose="020B0604030504040204" pitchFamily="50" charset="-128"/>
              </a:rPr>
              <a:t> </a:t>
            </a:r>
            <a:r>
              <a:rPr kumimoji="1" lang="ja-JP" altLang="en-US" dirty="0">
                <a:solidFill>
                  <a:schemeClr val="tx1"/>
                </a:solidFill>
                <a:latin typeface="Meiryo UI" panose="020B0604030504040204" pitchFamily="50" charset="-128"/>
                <a:ea typeface="Meiryo UI" panose="020B0604030504040204" pitchFamily="50" charset="-128"/>
              </a:rPr>
              <a:t>（使用</a:t>
            </a:r>
            <a:r>
              <a:rPr kumimoji="1" lang="ja-JP" altLang="en-US" dirty="0">
                <a:latin typeface="Meiryo UI" panose="020B0604030504040204" pitchFamily="50" charset="-128"/>
                <a:ea typeface="Meiryo UI" panose="020B0604030504040204" pitchFamily="50" charset="-128"/>
              </a:rPr>
              <a:t>実績：推進用主機関</a:t>
            </a:r>
            <a:r>
              <a:rPr kumimoji="1" lang="en-US" altLang="ja-JP" dirty="0">
                <a:latin typeface="Meiryo UI" panose="020B0604030504040204" pitchFamily="50" charset="-128"/>
                <a:ea typeface="Meiryo UI" panose="020B0604030504040204" pitchFamily="50" charset="-128"/>
              </a:rPr>
              <a:t>90</a:t>
            </a:r>
            <a:r>
              <a:rPr kumimoji="1" lang="ja-JP" altLang="en-US" dirty="0">
                <a:latin typeface="Meiryo UI" panose="020B0604030504040204" pitchFamily="50" charset="-128"/>
                <a:ea typeface="Meiryo UI" panose="020B0604030504040204" pitchFamily="50" charset="-128"/>
              </a:rPr>
              <a:t>％以上、発電用機関</a:t>
            </a:r>
            <a:r>
              <a:rPr kumimoji="1" lang="en-US" altLang="ja-JP" dirty="0">
                <a:latin typeface="Meiryo UI" panose="020B0604030504040204" pitchFamily="50" charset="-128"/>
                <a:ea typeface="Meiryo UI" panose="020B0604030504040204" pitchFamily="50" charset="-128"/>
              </a:rPr>
              <a:t>70%</a:t>
            </a:r>
            <a:r>
              <a:rPr kumimoji="1" lang="ja-JP" altLang="en-US" dirty="0">
                <a:latin typeface="Meiryo UI" panose="020B0604030504040204" pitchFamily="50" charset="-128"/>
                <a:ea typeface="Meiryo UI" panose="020B0604030504040204" pitchFamily="50" charset="-128"/>
              </a:rPr>
              <a:t>以上</a:t>
            </a:r>
            <a:r>
              <a:rPr kumimoji="1" lang="ja-JP" altLang="en-US" dirty="0">
                <a:solidFill>
                  <a:schemeClr val="tx1"/>
                </a:solidFill>
                <a:latin typeface="Meiryo UI" panose="020B0604030504040204" pitchFamily="50" charset="-128"/>
                <a:ea typeface="Meiryo UI" panose="020B0604030504040204" pitchFamily="50" charset="-128"/>
              </a:rPr>
              <a:t>）</a:t>
            </a:r>
            <a:endParaRPr kumimoji="1" lang="en-US" altLang="ja-JP" dirty="0">
              <a:solidFill>
                <a:schemeClr val="tx1"/>
              </a:solidFill>
              <a:latin typeface="Meiryo UI" panose="020B0604030504040204" pitchFamily="50" charset="-128"/>
              <a:ea typeface="Meiryo UI" panose="020B0604030504040204" pitchFamily="50" charset="-128"/>
            </a:endParaRPr>
          </a:p>
          <a:p>
            <a:pPr>
              <a:lnSpc>
                <a:spcPts val="1000"/>
              </a:lnSpc>
            </a:pPr>
            <a:endParaRPr kumimoji="1" lang="en-US" altLang="ja-JP" dirty="0">
              <a:solidFill>
                <a:schemeClr val="tx1"/>
              </a:solidFill>
              <a:latin typeface="Meiryo UI" panose="020B0604030504040204" pitchFamily="50" charset="-128"/>
              <a:ea typeface="Meiryo UI" panose="020B0604030504040204" pitchFamily="50" charset="-128"/>
            </a:endParaRPr>
          </a:p>
          <a:p>
            <a:pPr algn="l">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成果②　</a:t>
            </a:r>
            <a:r>
              <a:rPr kumimoji="1" lang="ja-JP" altLang="en-US" b="1" u="sng" dirty="0">
                <a:solidFill>
                  <a:srgbClr val="005396"/>
                </a:solidFill>
                <a:latin typeface="Meiryo UI" panose="020B0604030504040204" pitchFamily="50" charset="-128"/>
                <a:ea typeface="Meiryo UI" panose="020B0604030504040204" pitchFamily="50" charset="-128"/>
              </a:rPr>
              <a:t>内航業界における環境対応の先駆けとなる</a:t>
            </a:r>
            <a:endParaRPr kumimoji="1" lang="en-US" altLang="ja-JP" b="1" u="sng"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安全かつ実用的に</a:t>
            </a: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燃料を補給できる仕組みを構築</a:t>
            </a:r>
            <a:endParaRPr kumimoji="1" lang="en-US" altLang="ja-JP" dirty="0">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多くの内航関係者が訪船・バンカリングを視察</a:t>
            </a:r>
            <a:endParaRPr kumimoji="1" lang="en-US" altLang="ja-JP" dirty="0">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シップ・オブ・ザ・イヤー</a:t>
            </a:r>
            <a:r>
              <a:rPr kumimoji="1" lang="en-US" altLang="ja-JP" dirty="0">
                <a:latin typeface="Meiryo UI" panose="020B0604030504040204" pitchFamily="50" charset="-128"/>
                <a:ea typeface="Meiryo UI" panose="020B0604030504040204" pitchFamily="50" charset="-128"/>
              </a:rPr>
              <a:t>2022</a:t>
            </a:r>
            <a:r>
              <a:rPr kumimoji="1" lang="ja-JP" altLang="en-US" dirty="0">
                <a:latin typeface="Meiryo UI" panose="020B0604030504040204" pitchFamily="50" charset="-128"/>
                <a:ea typeface="Meiryo UI" panose="020B0604030504040204" pitchFamily="50" charset="-128"/>
              </a:rPr>
              <a:t> 部門賞、グッドデザイン賞</a:t>
            </a:r>
            <a:r>
              <a:rPr kumimoji="1" lang="en-US" altLang="ja-JP" dirty="0">
                <a:latin typeface="Meiryo UI" panose="020B0604030504040204" pitchFamily="50" charset="-128"/>
                <a:ea typeface="Meiryo UI" panose="020B0604030504040204" pitchFamily="50" charset="-128"/>
              </a:rPr>
              <a:t>2023</a:t>
            </a:r>
            <a:r>
              <a:rPr kumimoji="1" lang="ja-JP" altLang="en-US" dirty="0">
                <a:latin typeface="Meiryo UI" panose="020B0604030504040204" pitchFamily="50" charset="-128"/>
                <a:ea typeface="Meiryo UI" panose="020B0604030504040204" pitchFamily="50" charset="-128"/>
              </a:rPr>
              <a:t>など、多くの賞を受賞</a:t>
            </a:r>
          </a:p>
        </p:txBody>
      </p:sp>
      <p:sp>
        <p:nvSpPr>
          <p:cNvPr id="2" name="object 4">
            <a:extLst>
              <a:ext uri="{FF2B5EF4-FFF2-40B4-BE49-F238E27FC236}">
                <a16:creationId xmlns:a16="http://schemas.microsoft.com/office/drawing/2014/main" id="{25722B03-4969-7C38-3214-4F4B8A3C52CD}"/>
              </a:ext>
            </a:extLst>
          </p:cNvPr>
          <p:cNvSpPr txBox="1">
            <a:spLocks/>
          </p:cNvSpPr>
          <p:nvPr/>
        </p:nvSpPr>
        <p:spPr>
          <a:xfrm>
            <a:off x="32951" y="-1544"/>
            <a:ext cx="876300" cy="876300"/>
          </a:xfrm>
          <a:prstGeom prst="rect">
            <a:avLst/>
          </a:prstGeom>
        </p:spPr>
        <p:txBody>
          <a:bodyPr vert="horz" wrap="none" lIns="0" tIns="12700" rIns="0" bIns="0" rtlCol="0" anchor="ctr">
            <a:noAutofit/>
          </a:bodyPr>
          <a:lstStyle>
            <a:lvl1pPr>
              <a:defRPr>
                <a:latin typeface="+mj-lt"/>
                <a:ea typeface="+mj-ea"/>
                <a:cs typeface="+mj-cs"/>
              </a:defRPr>
            </a:lvl1p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altLang="ja-JP" sz="3600" b="0" i="0" u="none" strike="noStrike" kern="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rPr>
              <a:t>2</a:t>
            </a:r>
          </a:p>
        </p:txBody>
      </p:sp>
      <p:pic>
        <p:nvPicPr>
          <p:cNvPr id="7" name="Picture 8">
            <a:extLst>
              <a:ext uri="{FF2B5EF4-FFF2-40B4-BE49-F238E27FC236}">
                <a16:creationId xmlns:a16="http://schemas.microsoft.com/office/drawing/2014/main" id="{873A2BE8-CE67-B930-1593-7CD996D6BCE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132" y="3796465"/>
            <a:ext cx="4149166" cy="240381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a:extLst>
              <a:ext uri="{FF2B5EF4-FFF2-40B4-BE49-F238E27FC236}">
                <a16:creationId xmlns:a16="http://schemas.microsoft.com/office/drawing/2014/main" id="{F8C874A9-1BB4-CE03-948E-F6E7E792DA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4620" y="3796465"/>
            <a:ext cx="4038996" cy="2420014"/>
          </a:xfrm>
          <a:prstGeom prst="rect">
            <a:avLst/>
          </a:prstGeom>
          <a:noFill/>
          <a:extLst>
            <a:ext uri="{909E8E84-426E-40DD-AFC4-6F175D3DCCD1}">
              <a14:hiddenFill xmlns:a14="http://schemas.microsoft.com/office/drawing/2010/main">
                <a:solidFill>
                  <a:srgbClr val="FFFFFF"/>
                </a:solidFill>
              </a14:hiddenFill>
            </a:ext>
          </a:extLst>
        </p:spPr>
      </p:pic>
      <p:sp>
        <p:nvSpPr>
          <p:cNvPr id="9" name="タイトル 6">
            <a:extLst>
              <a:ext uri="{FF2B5EF4-FFF2-40B4-BE49-F238E27FC236}">
                <a16:creationId xmlns:a16="http://schemas.microsoft.com/office/drawing/2014/main" id="{4E2744EF-FA9F-AC1A-A2E7-047E54CD32E1}"/>
              </a:ext>
            </a:extLst>
          </p:cNvPr>
          <p:cNvSpPr txBox="1">
            <a:spLocks/>
          </p:cNvSpPr>
          <p:nvPr/>
        </p:nvSpPr>
        <p:spPr>
          <a:xfrm>
            <a:off x="905505" y="301096"/>
            <a:ext cx="10235442" cy="323165"/>
          </a:xfrm>
          <a:prstGeom prst="rect">
            <a:avLst/>
          </a:prstGeom>
        </p:spPr>
        <p:txBody>
          <a:bodyPr wrap="square" lIns="0" tIns="0" rIns="0" bIns="0">
            <a:noAutofit/>
          </a:bodyPr>
          <a:lstStyle>
            <a:lvl1pPr>
              <a:defRPr sz="2100" b="1" i="0" spc="0">
                <a:solidFill>
                  <a:srgbClr val="005295"/>
                </a:solidFill>
                <a:latin typeface="Meiryo UI" panose="020B0604030504040204" pitchFamily="34" charset="-128"/>
                <a:ea typeface="Meiryo UI" panose="020B0604030504040204" pitchFamily="34" charset="-128"/>
                <a:cs typeface="YuGothicStd-L"/>
              </a:defRPr>
            </a:lvl1pPr>
          </a:lstStyle>
          <a:p>
            <a:r>
              <a:rPr lang="en-US" altLang="ja-JP" dirty="0"/>
              <a:t>LNG</a:t>
            </a:r>
            <a:r>
              <a:rPr lang="ja-JP" altLang="en-US" dirty="0"/>
              <a:t>燃料フェリー「さんふらわあ くれない・むらさき」就航に伴う成果 　</a:t>
            </a:r>
          </a:p>
        </p:txBody>
      </p:sp>
      <p:sp>
        <p:nvSpPr>
          <p:cNvPr id="12" name="スライド番号プレースホルダー 3">
            <a:extLst>
              <a:ext uri="{FF2B5EF4-FFF2-40B4-BE49-F238E27FC236}">
                <a16:creationId xmlns:a16="http://schemas.microsoft.com/office/drawing/2014/main" id="{04D5F0AB-B4B5-0C18-7A1F-473D346A53EE}"/>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5</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Tree>
    <p:extLst>
      <p:ext uri="{BB962C8B-B14F-4D97-AF65-F5344CB8AC3E}">
        <p14:creationId xmlns:p14="http://schemas.microsoft.com/office/powerpoint/2010/main" val="12813230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object 8">
            <a:extLst>
              <a:ext uri="{FF2B5EF4-FFF2-40B4-BE49-F238E27FC236}">
                <a16:creationId xmlns:a16="http://schemas.microsoft.com/office/drawing/2014/main" id="{6104636F-A730-0FF4-F264-EFEE1264306D}"/>
              </a:ext>
            </a:extLst>
          </p:cNvPr>
          <p:cNvPicPr/>
          <p:nvPr/>
        </p:nvPicPr>
        <p:blipFill>
          <a:blip r:embed="rId3" cstate="print"/>
          <a:stretch>
            <a:fillRect/>
          </a:stretch>
        </p:blipFill>
        <p:spPr>
          <a:xfrm>
            <a:off x="1242092" y="2704290"/>
            <a:ext cx="4384660" cy="2463113"/>
          </a:xfrm>
          <a:prstGeom prst="rect">
            <a:avLst/>
          </a:prstGeom>
          <a:effectLst>
            <a:outerShdw blurRad="63500" algn="ctr" rotWithShape="0">
              <a:prstClr val="black">
                <a:alpha val="40000"/>
              </a:prstClr>
            </a:outerShdw>
          </a:effectLst>
        </p:spPr>
      </p:pic>
      <p:pic>
        <p:nvPicPr>
          <p:cNvPr id="18" name="object 14">
            <a:extLst>
              <a:ext uri="{FF2B5EF4-FFF2-40B4-BE49-F238E27FC236}">
                <a16:creationId xmlns:a16="http://schemas.microsoft.com/office/drawing/2014/main" id="{6128FAD2-D298-D417-0AB7-8DB332FBA98B}"/>
              </a:ext>
            </a:extLst>
          </p:cNvPr>
          <p:cNvPicPr/>
          <p:nvPr/>
        </p:nvPicPr>
        <p:blipFill>
          <a:blip r:embed="rId4"/>
          <a:srcRect/>
          <a:stretch/>
        </p:blipFill>
        <p:spPr>
          <a:xfrm>
            <a:off x="6472110" y="2704289"/>
            <a:ext cx="4477798" cy="2463113"/>
          </a:xfrm>
          <a:prstGeom prst="rect">
            <a:avLst/>
          </a:prstGeom>
          <a:effectLst>
            <a:outerShdw blurRad="63500" algn="ctr" rotWithShape="0">
              <a:prstClr val="black">
                <a:alpha val="40000"/>
              </a:prstClr>
            </a:outerShdw>
          </a:effectLst>
        </p:spPr>
      </p:pic>
      <p:sp>
        <p:nvSpPr>
          <p:cNvPr id="12" name="テキスト ボックス 11">
            <a:extLst>
              <a:ext uri="{FF2B5EF4-FFF2-40B4-BE49-F238E27FC236}">
                <a16:creationId xmlns:a16="http://schemas.microsoft.com/office/drawing/2014/main" id="{C92A527E-5DBF-E0F1-9EFE-F1E86C36D2CE}"/>
              </a:ext>
            </a:extLst>
          </p:cNvPr>
          <p:cNvSpPr txBox="1"/>
          <p:nvPr/>
        </p:nvSpPr>
        <p:spPr>
          <a:xfrm>
            <a:off x="982663" y="885369"/>
            <a:ext cx="10375142" cy="1580817"/>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成果③　</a:t>
            </a:r>
            <a:r>
              <a:rPr kumimoji="1" lang="ja-JP" altLang="en-US" b="1" u="sng" dirty="0">
                <a:solidFill>
                  <a:srgbClr val="005396"/>
                </a:solidFill>
                <a:latin typeface="Meiryo UI" panose="020B0604030504040204" pitchFamily="50" charset="-128"/>
                <a:ea typeface="Meiryo UI" panose="020B0604030504040204" pitchFamily="50" charset="-128"/>
              </a:rPr>
              <a:t>一般消費者に対する環境意識啓発の一助</a:t>
            </a:r>
          </a:p>
          <a:p>
            <a:pPr marL="1080000" indent="-285750">
              <a:lnSpc>
                <a:spcPts val="3000"/>
              </a:lnSpc>
              <a:buFont typeface="Wingdings" panose="05000000000000000000" pitchFamily="2" charset="2"/>
              <a:buChar char="l"/>
            </a:pPr>
            <a:r>
              <a:rPr kumimoji="1" lang="en-US" altLang="ja-JP" dirty="0" err="1">
                <a:latin typeface="Meiryo UI" panose="020B0604030504040204" pitchFamily="50" charset="-128"/>
                <a:ea typeface="Meiryo UI" panose="020B0604030504040204" pitchFamily="50" charset="-128"/>
              </a:rPr>
              <a:t>BtoC</a:t>
            </a:r>
            <a:r>
              <a:rPr kumimoji="1" lang="ja-JP" altLang="en-US" dirty="0">
                <a:latin typeface="Meiryo UI" panose="020B0604030504040204" pitchFamily="50" charset="-128"/>
                <a:ea typeface="Meiryo UI" panose="020B0604030504040204" pitchFamily="50" charset="-128"/>
              </a:rPr>
              <a:t>事業も担うフェリーを</a:t>
            </a: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燃料船にすることでお客様に環境への意識を高めてもらう</a:t>
            </a: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日本初の</a:t>
            </a: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燃料フェリーとしてメディアへの露出が増加、</a:t>
            </a:r>
            <a:br>
              <a:rPr kumimoji="1" lang="ja-JP" altLang="en-US"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商船三井グループとして環境への取組みをアピールする機会が増えた</a:t>
            </a:r>
          </a:p>
        </p:txBody>
      </p:sp>
      <p:sp>
        <p:nvSpPr>
          <p:cNvPr id="3" name="タイトル 6">
            <a:extLst>
              <a:ext uri="{FF2B5EF4-FFF2-40B4-BE49-F238E27FC236}">
                <a16:creationId xmlns:a16="http://schemas.microsoft.com/office/drawing/2014/main" id="{F9FA749A-F6A4-F779-B7CA-77D41025B81A}"/>
              </a:ext>
            </a:extLst>
          </p:cNvPr>
          <p:cNvSpPr txBox="1">
            <a:spLocks/>
          </p:cNvSpPr>
          <p:nvPr/>
        </p:nvSpPr>
        <p:spPr>
          <a:xfrm>
            <a:off x="905505" y="301096"/>
            <a:ext cx="10235442" cy="323165"/>
          </a:xfrm>
          <a:prstGeom prst="rect">
            <a:avLst/>
          </a:prstGeom>
        </p:spPr>
        <p:txBody>
          <a:bodyPr wrap="square" lIns="0" tIns="0" rIns="0" bIns="0">
            <a:noAutofit/>
          </a:bodyPr>
          <a:lstStyle>
            <a:lvl1pPr>
              <a:defRPr sz="2100" b="1" i="0" spc="0">
                <a:solidFill>
                  <a:srgbClr val="005295"/>
                </a:solidFill>
                <a:latin typeface="Meiryo UI" panose="020B0604030504040204" pitchFamily="34" charset="-128"/>
                <a:ea typeface="Meiryo UI" panose="020B0604030504040204" pitchFamily="34" charset="-128"/>
                <a:cs typeface="YuGothicStd-L"/>
              </a:defRPr>
            </a:lvl1pPr>
          </a:lstStyle>
          <a:p>
            <a:r>
              <a:rPr lang="en-US" altLang="ja-JP" dirty="0">
                <a:latin typeface="Meiryo UI"/>
                <a:ea typeface="Meiryo UI"/>
              </a:rPr>
              <a:t>LNG</a:t>
            </a:r>
            <a:r>
              <a:rPr lang="ja-JP" altLang="en-US" dirty="0">
                <a:latin typeface="Meiryo UI"/>
                <a:ea typeface="Meiryo UI"/>
              </a:rPr>
              <a:t>燃料フェリー「さんふらわあ くれない・むらさき」就航に伴う成果 　</a:t>
            </a:r>
            <a:endParaRPr lang="ja-JP" altLang="en-US" dirty="0"/>
          </a:p>
        </p:txBody>
      </p:sp>
      <p:sp>
        <p:nvSpPr>
          <p:cNvPr id="8" name="スライド番号プレースホルダー 3">
            <a:extLst>
              <a:ext uri="{FF2B5EF4-FFF2-40B4-BE49-F238E27FC236}">
                <a16:creationId xmlns:a16="http://schemas.microsoft.com/office/drawing/2014/main" id="{1CD00924-17A9-5638-A396-E86BBAE307CB}"/>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6</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Tree>
    <p:extLst>
      <p:ext uri="{BB962C8B-B14F-4D97-AF65-F5344CB8AC3E}">
        <p14:creationId xmlns:p14="http://schemas.microsoft.com/office/powerpoint/2010/main" val="23921370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a:extLst>
              <a:ext uri="{FF2B5EF4-FFF2-40B4-BE49-F238E27FC236}">
                <a16:creationId xmlns:a16="http://schemas.microsoft.com/office/drawing/2014/main" id="{5B970CCA-53F5-7D5D-D30F-5F7D14910B08}"/>
              </a:ext>
            </a:extLst>
          </p:cNvPr>
          <p:cNvSpPr txBox="1"/>
          <p:nvPr/>
        </p:nvSpPr>
        <p:spPr>
          <a:xfrm>
            <a:off x="978662" y="4071425"/>
            <a:ext cx="10375142" cy="2093778"/>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取組み②　</a:t>
            </a:r>
            <a:r>
              <a:rPr kumimoji="1" lang="en-US" altLang="ja-JP" b="1" dirty="0">
                <a:solidFill>
                  <a:srgbClr val="005396"/>
                </a:solidFill>
                <a:latin typeface="Meiryo UI" panose="020B0604030504040204" pitchFamily="50" charset="-128"/>
                <a:ea typeface="Meiryo UI" panose="020B0604030504040204" pitchFamily="50" charset="-128"/>
              </a:rPr>
              <a:t>LNG</a:t>
            </a:r>
            <a:r>
              <a:rPr kumimoji="1" lang="ja-JP" altLang="en-US" b="1" dirty="0">
                <a:solidFill>
                  <a:srgbClr val="005396"/>
                </a:solidFill>
                <a:latin typeface="Meiryo UI" panose="020B0604030504040204" pitchFamily="50" charset="-128"/>
                <a:ea typeface="Meiryo UI" panose="020B0604030504040204" pitchFamily="50" charset="-128"/>
              </a:rPr>
              <a:t>燃料普及への向けた検討</a:t>
            </a:r>
            <a:endParaRPr kumimoji="1" lang="en-US" altLang="ja-JP" b="1" u="sng"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フェリー・内航船向けの</a:t>
            </a:r>
            <a:r>
              <a:rPr kumimoji="1" lang="en-US" altLang="ja-JP" dirty="0">
                <a:latin typeface="Meiryo UI" panose="020B0604030504040204" pitchFamily="50" charset="-128"/>
                <a:ea typeface="Meiryo UI" panose="020B0604030504040204" pitchFamily="50" charset="-128"/>
              </a:rPr>
              <a:t>LNG</a:t>
            </a:r>
            <a:r>
              <a:rPr kumimoji="1" lang="ja-JP" altLang="en-US" dirty="0">
                <a:latin typeface="Meiryo UI" panose="020B0604030504040204" pitchFamily="50" charset="-128"/>
                <a:ea typeface="Meiryo UI" panose="020B0604030504040204" pitchFamily="50" charset="-128"/>
              </a:rPr>
              <a:t>燃料供給船建造の検討継続</a:t>
            </a:r>
            <a:endParaRPr kumimoji="1" lang="en-US" altLang="ja-JP" dirty="0">
              <a:solidFill>
                <a:schemeClr val="tx1"/>
              </a:solidFill>
              <a:latin typeface="Meiryo UI" panose="020B0604030504040204" pitchFamily="50" charset="-128"/>
              <a:ea typeface="Meiryo UI" panose="020B0604030504040204" pitchFamily="50" charset="-128"/>
            </a:endParaRPr>
          </a:p>
          <a:p>
            <a:pPr>
              <a:lnSpc>
                <a:spcPts val="1000"/>
              </a:lnSpc>
            </a:pPr>
            <a:endParaRPr kumimoji="1" lang="en-US" altLang="ja-JP" dirty="0">
              <a:solidFill>
                <a:schemeClr val="tx1"/>
              </a:solidFill>
              <a:latin typeface="Meiryo UI" panose="020B0604030504040204" pitchFamily="50" charset="-128"/>
              <a:ea typeface="Meiryo UI" panose="020B0604030504040204" pitchFamily="50" charset="-128"/>
            </a:endParaRPr>
          </a:p>
          <a:p>
            <a:pPr algn="l">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取組み③　</a:t>
            </a:r>
            <a:r>
              <a:rPr kumimoji="1" lang="en-US" altLang="ja-JP" b="1" dirty="0">
                <a:solidFill>
                  <a:srgbClr val="005396"/>
                </a:solidFill>
                <a:latin typeface="Meiryo UI" panose="020B0604030504040204" pitchFamily="50" charset="-128"/>
                <a:ea typeface="Meiryo UI" panose="020B0604030504040204" pitchFamily="50" charset="-128"/>
              </a:rPr>
              <a:t>GX-ETS</a:t>
            </a:r>
            <a:r>
              <a:rPr kumimoji="1" lang="ja-JP" altLang="en-US" b="1" dirty="0">
                <a:solidFill>
                  <a:srgbClr val="005396"/>
                </a:solidFill>
                <a:latin typeface="Meiryo UI" panose="020B0604030504040204" pitchFamily="50" charset="-128"/>
                <a:ea typeface="Meiryo UI" panose="020B0604030504040204" pitchFamily="50" charset="-128"/>
              </a:rPr>
              <a:t>への参加</a:t>
            </a:r>
            <a:endParaRPr kumimoji="1" lang="en-US" altLang="ja-JP" b="1" dirty="0">
              <a:solidFill>
                <a:srgbClr val="005396"/>
              </a:solidFill>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商船三井と商船三井さんふらわあにて</a:t>
            </a:r>
            <a:r>
              <a:rPr kumimoji="1" lang="en-US" altLang="ja-JP" dirty="0">
                <a:latin typeface="Meiryo UI" panose="020B0604030504040204" pitchFamily="50" charset="-128"/>
                <a:ea typeface="Meiryo UI" panose="020B0604030504040204" pitchFamily="50" charset="-128"/>
              </a:rPr>
              <a:t>2023</a:t>
            </a:r>
            <a:r>
              <a:rPr kumimoji="1" lang="ja-JP" altLang="en-US" dirty="0">
                <a:latin typeface="Meiryo UI" panose="020B0604030504040204" pitchFamily="50" charset="-128"/>
                <a:ea typeface="Meiryo UI" panose="020B0604030504040204" pitchFamily="50" charset="-128"/>
              </a:rPr>
              <a:t>年度より参加</a:t>
            </a:r>
            <a:endParaRPr kumimoji="1" lang="en-US" altLang="ja-JP" dirty="0">
              <a:latin typeface="Meiryo UI" panose="020B0604030504040204" pitchFamily="50" charset="-128"/>
              <a:ea typeface="Meiryo UI" panose="020B0604030504040204" pitchFamily="50" charset="-128"/>
            </a:endParaRPr>
          </a:p>
          <a:p>
            <a:pPr marL="1080000" indent="-285750">
              <a:lnSpc>
                <a:spcPts val="3000"/>
              </a:lnSpc>
              <a:buFont typeface="Wingdings" panose="05000000000000000000" pitchFamily="2" charset="2"/>
              <a:buChar char="l"/>
            </a:pPr>
            <a:r>
              <a:rPr kumimoji="1" lang="ja-JP" altLang="en-US" dirty="0">
                <a:latin typeface="Meiryo UI" panose="020B0604030504040204" pitchFamily="50" charset="-128"/>
                <a:ea typeface="Meiryo UI" panose="020B0604030504040204" pitchFamily="50" charset="-128"/>
              </a:rPr>
              <a:t>日本国内における排出権市場創設への参画</a:t>
            </a:r>
          </a:p>
        </p:txBody>
      </p:sp>
      <p:sp>
        <p:nvSpPr>
          <p:cNvPr id="3" name="タイトル 6">
            <a:extLst>
              <a:ext uri="{FF2B5EF4-FFF2-40B4-BE49-F238E27FC236}">
                <a16:creationId xmlns:a16="http://schemas.microsoft.com/office/drawing/2014/main" id="{3FF8D713-74DB-37F5-171D-50DAE77194B3}"/>
              </a:ext>
            </a:extLst>
          </p:cNvPr>
          <p:cNvSpPr txBox="1">
            <a:spLocks/>
          </p:cNvSpPr>
          <p:nvPr/>
        </p:nvSpPr>
        <p:spPr>
          <a:xfrm>
            <a:off x="905505" y="301096"/>
            <a:ext cx="10235442" cy="323165"/>
          </a:xfrm>
          <a:prstGeom prst="rect">
            <a:avLst/>
          </a:prstGeom>
        </p:spPr>
        <p:txBody>
          <a:bodyPr wrap="square" lIns="0" tIns="0" rIns="0" bIns="0">
            <a:noAutofit/>
          </a:bodyPr>
          <a:lstStyle>
            <a:lvl1pPr>
              <a:defRPr sz="2100" b="1" i="0" spc="0">
                <a:solidFill>
                  <a:srgbClr val="005295"/>
                </a:solidFill>
                <a:latin typeface="Meiryo UI" panose="020B0604030504040204" pitchFamily="34" charset="-128"/>
                <a:ea typeface="Meiryo UI" panose="020B0604030504040204" pitchFamily="34" charset="-128"/>
                <a:cs typeface="YuGothicStd-L"/>
              </a:defRPr>
            </a:lvl1pPr>
          </a:lstStyle>
          <a:p>
            <a:r>
              <a:rPr lang="ja-JP" altLang="en-US" dirty="0">
                <a:latin typeface="Meiryo UI"/>
                <a:ea typeface="Meiryo UI"/>
              </a:rPr>
              <a:t>フェリー・内航</a:t>
            </a:r>
            <a:r>
              <a:rPr lang="en-US" altLang="ja-JP" dirty="0">
                <a:latin typeface="Meiryo UI"/>
                <a:ea typeface="Meiryo UI"/>
              </a:rPr>
              <a:t>RORO</a:t>
            </a:r>
            <a:r>
              <a:rPr lang="ja-JP" altLang="en-US" dirty="0">
                <a:latin typeface="Meiryo UI"/>
                <a:ea typeface="Meiryo UI"/>
              </a:rPr>
              <a:t>船事業における今後の取り組み</a:t>
            </a:r>
            <a:endParaRPr lang="ja-JP" altLang="en-US" dirty="0"/>
          </a:p>
        </p:txBody>
      </p:sp>
      <p:pic>
        <p:nvPicPr>
          <p:cNvPr id="12" name="図 11">
            <a:extLst>
              <a:ext uri="{FF2B5EF4-FFF2-40B4-BE49-F238E27FC236}">
                <a16:creationId xmlns:a16="http://schemas.microsoft.com/office/drawing/2014/main" id="{FBD4E6BB-2C2E-A8CE-767E-B8B04E1EB13B}"/>
              </a:ext>
            </a:extLst>
          </p:cNvPr>
          <p:cNvPicPr>
            <a:picLocks noChangeAspect="1"/>
          </p:cNvPicPr>
          <p:nvPr/>
        </p:nvPicPr>
        <p:blipFill>
          <a:blip r:embed="rId3"/>
          <a:stretch>
            <a:fillRect/>
          </a:stretch>
        </p:blipFill>
        <p:spPr>
          <a:xfrm>
            <a:off x="949886" y="1383011"/>
            <a:ext cx="5717237" cy="2634120"/>
          </a:xfrm>
          <a:prstGeom prst="rect">
            <a:avLst/>
          </a:prstGeom>
        </p:spPr>
      </p:pic>
      <p:sp>
        <p:nvSpPr>
          <p:cNvPr id="13" name="テキスト ボックス 12">
            <a:extLst>
              <a:ext uri="{FF2B5EF4-FFF2-40B4-BE49-F238E27FC236}">
                <a16:creationId xmlns:a16="http://schemas.microsoft.com/office/drawing/2014/main" id="{5FBA8B50-DC96-5E08-7558-B57D9C47A9FA}"/>
              </a:ext>
            </a:extLst>
          </p:cNvPr>
          <p:cNvSpPr txBox="1"/>
          <p:nvPr/>
        </p:nvSpPr>
        <p:spPr>
          <a:xfrm>
            <a:off x="982663" y="885369"/>
            <a:ext cx="10375142" cy="426655"/>
          </a:xfrm>
          <a:prstGeom prst="rect">
            <a:avLst/>
          </a:prstGeom>
          <a:noFill/>
        </p:spPr>
        <p:txBody>
          <a:bodyPr wrap="square" rtlCol="0">
            <a:spAutoFit/>
          </a:bodyPr>
          <a:lstStyle/>
          <a:p>
            <a:pPr>
              <a:lnSpc>
                <a:spcPts val="3000"/>
              </a:lnSpc>
            </a:pPr>
            <a:r>
              <a:rPr kumimoji="1" lang="ja-JP" altLang="en-US" b="1" dirty="0">
                <a:solidFill>
                  <a:srgbClr val="005396"/>
                </a:solidFill>
                <a:latin typeface="Meiryo UI" panose="020B0604030504040204" pitchFamily="50" charset="-128"/>
                <a:ea typeface="Meiryo UI" panose="020B0604030504040204" pitchFamily="50" charset="-128"/>
              </a:rPr>
              <a:t>取組み①　</a:t>
            </a:r>
            <a:r>
              <a:rPr kumimoji="1" lang="en-US" altLang="ja-JP" b="1" dirty="0">
                <a:solidFill>
                  <a:srgbClr val="005396"/>
                </a:solidFill>
                <a:latin typeface="Meiryo UI" panose="020B0604030504040204" pitchFamily="50" charset="-128"/>
                <a:ea typeface="Meiryo UI" panose="020B0604030504040204" pitchFamily="50" charset="-128"/>
              </a:rPr>
              <a:t>LNG</a:t>
            </a:r>
            <a:r>
              <a:rPr kumimoji="1" lang="ja-JP" altLang="en-US" b="1" dirty="0">
                <a:solidFill>
                  <a:srgbClr val="005396"/>
                </a:solidFill>
                <a:latin typeface="Meiryo UI" panose="020B0604030504040204" pitchFamily="50" charset="-128"/>
                <a:ea typeface="Meiryo UI" panose="020B0604030504040204" pitchFamily="50" charset="-128"/>
              </a:rPr>
              <a:t>燃料船への代替促進</a:t>
            </a:r>
          </a:p>
        </p:txBody>
      </p:sp>
      <p:pic>
        <p:nvPicPr>
          <p:cNvPr id="16" name="図 15">
            <a:extLst>
              <a:ext uri="{FF2B5EF4-FFF2-40B4-BE49-F238E27FC236}">
                <a16:creationId xmlns:a16="http://schemas.microsoft.com/office/drawing/2014/main" id="{22FEDF30-A694-4412-B72F-38A97C0BD28F}"/>
              </a:ext>
            </a:extLst>
          </p:cNvPr>
          <p:cNvPicPr>
            <a:picLocks noChangeAspect="1"/>
          </p:cNvPicPr>
          <p:nvPr/>
        </p:nvPicPr>
        <p:blipFill>
          <a:blip r:embed="rId4"/>
          <a:stretch>
            <a:fillRect/>
          </a:stretch>
        </p:blipFill>
        <p:spPr>
          <a:xfrm>
            <a:off x="6658245" y="1596063"/>
            <a:ext cx="4739949" cy="2401296"/>
          </a:xfrm>
          <a:prstGeom prst="rect">
            <a:avLst/>
          </a:prstGeom>
        </p:spPr>
      </p:pic>
      <p:sp>
        <p:nvSpPr>
          <p:cNvPr id="17" name="テキスト ボックス 16">
            <a:extLst>
              <a:ext uri="{FF2B5EF4-FFF2-40B4-BE49-F238E27FC236}">
                <a16:creationId xmlns:a16="http://schemas.microsoft.com/office/drawing/2014/main" id="{23E87F80-BA78-73DD-D17B-2B95FA9FC94E}"/>
              </a:ext>
            </a:extLst>
          </p:cNvPr>
          <p:cNvSpPr txBox="1"/>
          <p:nvPr/>
        </p:nvSpPr>
        <p:spPr>
          <a:xfrm>
            <a:off x="6667123" y="1236631"/>
            <a:ext cx="5302070" cy="307777"/>
          </a:xfrm>
          <a:prstGeom prst="rect">
            <a:avLst/>
          </a:prstGeom>
          <a:noFill/>
        </p:spPr>
        <p:txBody>
          <a:bodyPr wrap="square" rtlCol="0">
            <a:spAutoFit/>
          </a:bodyPr>
          <a:lstStyle/>
          <a:p>
            <a:pPr algn="l"/>
            <a:r>
              <a:rPr kumimoji="1" lang="ja-JP" altLang="en-US" sz="1400" dirty="0">
                <a:solidFill>
                  <a:schemeClr val="tx1"/>
                </a:solidFill>
                <a:latin typeface="Meiryo UI" panose="020B0604030504040204" pitchFamily="50" charset="-128"/>
                <a:ea typeface="Meiryo UI" panose="020B0604030504040204" pitchFamily="50" charset="-128"/>
              </a:rPr>
              <a:t>大洗～苫小牧航路 新造</a:t>
            </a:r>
            <a:r>
              <a:rPr kumimoji="1" lang="en-US" altLang="ja-JP" sz="1400" dirty="0">
                <a:solidFill>
                  <a:schemeClr val="tx1"/>
                </a:solidFill>
                <a:latin typeface="Meiryo UI" panose="020B0604030504040204" pitchFamily="50" charset="-128"/>
                <a:ea typeface="Meiryo UI" panose="020B0604030504040204" pitchFamily="50" charset="-128"/>
              </a:rPr>
              <a:t>LNG</a:t>
            </a:r>
            <a:r>
              <a:rPr kumimoji="1" lang="ja-JP" altLang="en-US" sz="1400" dirty="0">
                <a:solidFill>
                  <a:schemeClr val="tx1"/>
                </a:solidFill>
                <a:latin typeface="Meiryo UI" panose="020B0604030504040204" pitchFamily="50" charset="-128"/>
                <a:ea typeface="Meiryo UI" panose="020B0604030504040204" pitchFamily="50" charset="-128"/>
              </a:rPr>
              <a:t>燃料フェリー</a:t>
            </a:r>
            <a:r>
              <a:rPr kumimoji="1" lang="en-US" altLang="ja-JP" sz="1400" dirty="0">
                <a:solidFill>
                  <a:schemeClr val="tx1"/>
                </a:solidFill>
                <a:latin typeface="Meiryo UI" panose="020B0604030504040204" pitchFamily="50" charset="-128"/>
                <a:ea typeface="Meiryo UI" panose="020B0604030504040204" pitchFamily="50" charset="-128"/>
              </a:rPr>
              <a:t>2</a:t>
            </a:r>
            <a:r>
              <a:rPr kumimoji="1" lang="ja-JP" altLang="en-US" sz="1400" dirty="0">
                <a:solidFill>
                  <a:schemeClr val="tx1"/>
                </a:solidFill>
                <a:latin typeface="Meiryo UI" panose="020B0604030504040204" pitchFamily="50" charset="-128"/>
                <a:ea typeface="Meiryo UI" panose="020B0604030504040204" pitchFamily="50" charset="-128"/>
              </a:rPr>
              <a:t>隻</a:t>
            </a:r>
            <a:r>
              <a:rPr kumimoji="1" lang="ja-JP" altLang="en-US" sz="1050" dirty="0">
                <a:solidFill>
                  <a:schemeClr val="tx1"/>
                </a:solidFill>
                <a:latin typeface="Meiryo UI" panose="020B0604030504040204" pitchFamily="50" charset="-128"/>
                <a:ea typeface="Meiryo UI" panose="020B0604030504040204" pitchFamily="50" charset="-128"/>
              </a:rPr>
              <a:t>（</a:t>
            </a:r>
            <a:r>
              <a:rPr kumimoji="1" lang="en-US" altLang="ja-JP" sz="1050" dirty="0">
                <a:solidFill>
                  <a:schemeClr val="tx1"/>
                </a:solidFill>
                <a:latin typeface="Meiryo UI" panose="020B0604030504040204" pitchFamily="50" charset="-128"/>
                <a:ea typeface="Meiryo UI" panose="020B0604030504040204" pitchFamily="50" charset="-128"/>
              </a:rPr>
              <a:t>2025</a:t>
            </a:r>
            <a:r>
              <a:rPr kumimoji="1" lang="ja-JP" altLang="en-US" sz="1050" dirty="0">
                <a:solidFill>
                  <a:schemeClr val="tx1"/>
                </a:solidFill>
                <a:latin typeface="Meiryo UI" panose="020B0604030504040204" pitchFamily="50" charset="-128"/>
                <a:ea typeface="Meiryo UI" panose="020B0604030504040204" pitchFamily="50" charset="-128"/>
              </a:rPr>
              <a:t>年就航予定）</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18" name="スライド番号プレースホルダー 3">
            <a:extLst>
              <a:ext uri="{FF2B5EF4-FFF2-40B4-BE49-F238E27FC236}">
                <a16:creationId xmlns:a16="http://schemas.microsoft.com/office/drawing/2014/main" id="{E54F2E8D-8FAF-729B-103B-EBB74B7CCFA1}"/>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7</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Tree>
    <p:extLst>
      <p:ext uri="{BB962C8B-B14F-4D97-AF65-F5344CB8AC3E}">
        <p14:creationId xmlns:p14="http://schemas.microsoft.com/office/powerpoint/2010/main" val="15888556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F4DFFAE1-41B0-0FC7-EE9A-76F8EC8F1C5C}"/>
              </a:ext>
            </a:extLst>
          </p:cNvPr>
          <p:cNvSpPr>
            <a:spLocks noGrp="1"/>
          </p:cNvSpPr>
          <p:nvPr>
            <p:ph type="body" sz="quarter" idx="11"/>
          </p:nvPr>
        </p:nvSpPr>
        <p:spPr>
          <a:xfrm>
            <a:off x="4842733" y="1652435"/>
            <a:ext cx="6293324" cy="3325965"/>
          </a:xfrm>
        </p:spPr>
        <p:txBody>
          <a:bodyPr wrap="square" lIns="0" tIns="0" rIns="0" bIns="0" anchor="t">
            <a:noAutofit/>
          </a:bodyPr>
          <a:lstStyle/>
          <a:p>
            <a:pPr marL="356870"/>
            <a:endParaRPr lang="ja-JP" altLang="en-US" dirty="0">
              <a:cs typeface="Segoe UI"/>
            </a:endParaRPr>
          </a:p>
          <a:p>
            <a:pPr marL="356870"/>
            <a:endParaRPr lang="ja-JP" altLang="en-US" dirty="0">
              <a:cs typeface="Segoe UI"/>
            </a:endParaRPr>
          </a:p>
        </p:txBody>
      </p:sp>
      <p:sp>
        <p:nvSpPr>
          <p:cNvPr id="3" name="タイトル 2">
            <a:extLst>
              <a:ext uri="{FF2B5EF4-FFF2-40B4-BE49-F238E27FC236}">
                <a16:creationId xmlns:a16="http://schemas.microsoft.com/office/drawing/2014/main" id="{A5F43D7E-010E-C4D4-5838-907A0BE72A2B}"/>
              </a:ext>
            </a:extLst>
          </p:cNvPr>
          <p:cNvSpPr>
            <a:spLocks noGrp="1"/>
          </p:cNvSpPr>
          <p:nvPr>
            <p:ph type="title"/>
          </p:nvPr>
        </p:nvSpPr>
        <p:spPr/>
        <p:txBody>
          <a:bodyPr/>
          <a:lstStyle/>
          <a:p>
            <a:r>
              <a:rPr kumimoji="1" lang="ja-JP" altLang="en-US" dirty="0"/>
              <a:t>目次タイトル</a:t>
            </a:r>
          </a:p>
        </p:txBody>
      </p:sp>
      <p:sp>
        <p:nvSpPr>
          <p:cNvPr id="4" name="テキスト プレースホルダー 2">
            <a:extLst>
              <a:ext uri="{FF2B5EF4-FFF2-40B4-BE49-F238E27FC236}">
                <a16:creationId xmlns:a16="http://schemas.microsoft.com/office/drawing/2014/main" id="{7A1539A8-3A4B-53CB-3229-DA4B57E04679}"/>
              </a:ext>
            </a:extLst>
          </p:cNvPr>
          <p:cNvSpPr txBox="1">
            <a:spLocks/>
          </p:cNvSpPr>
          <p:nvPr/>
        </p:nvSpPr>
        <p:spPr>
          <a:xfrm>
            <a:off x="4733925" y="955328"/>
            <a:ext cx="7124699" cy="4495800"/>
          </a:xfrm>
          <a:prstGeom prst="rect">
            <a:avLst/>
          </a:prstGeom>
        </p:spPr>
        <p:txBody>
          <a:bodyPr wrap="square" lIns="0" tIns="0" rIns="0" bIns="0" anchor="ctr">
            <a:noAutofit/>
          </a:bodyPr>
          <a:lstStyle>
            <a:lvl1pPr marL="357300" indent="-342900">
              <a:lnSpc>
                <a:spcPct val="130000"/>
              </a:lnSpc>
              <a:spcBef>
                <a:spcPts val="100"/>
              </a:spcBef>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1pPr>
            <a:lvl2pPr marL="8001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2pPr>
            <a:lvl3pPr marL="12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3pPr>
            <a:lvl4pPr marL="17145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4pPr>
            <a:lvl5pPr marL="21717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1.</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商船三井さんふらわあの概要</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14400" marR="0" lvl="0" indent="0"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FF0000"/>
              </a:solidFill>
            </a:endParaRPr>
          </a:p>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t>2</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商船三井グループ環境ビジョン</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2.2</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の概要</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714375" marR="0" lvl="0" indent="-352425" defTabSz="914400" eaLnBrk="1" fontAlgn="auto" latinLnBrk="0" hangingPunct="1">
              <a:lnSpc>
                <a:spcPct val="100000"/>
              </a:lnSpc>
              <a:spcBef>
                <a:spcPts val="0"/>
              </a:spcBef>
              <a:spcAft>
                <a:spcPts val="600"/>
              </a:spcAft>
              <a:buClrTx/>
              <a:buSzTx/>
              <a:buFont typeface="Wingdings" panose="05000000000000000000" pitchFamily="2" charset="2"/>
              <a:buChar char="ü"/>
              <a:tabLst/>
              <a:defRPr/>
            </a:pPr>
            <a:endParaRPr kumimoji="1" lang="en-US" altLang="ja-JP" sz="1800" b="0"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t>3</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日本初の</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LNG</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燃料フェリー「さんふらわあ くれない・むらさき」</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FF0000"/>
              </a:solidFill>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4.</a:t>
            </a:r>
            <a:r>
              <a:rPr kumimoji="1" lang="ja-JP" altLang="en-US"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終わりに</a:t>
            </a:r>
            <a:endPar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endParaRPr>
          </a:p>
        </p:txBody>
      </p:sp>
      <p:sp>
        <p:nvSpPr>
          <p:cNvPr id="5" name="スライド番号プレースホルダー 3">
            <a:extLst>
              <a:ext uri="{FF2B5EF4-FFF2-40B4-BE49-F238E27FC236}">
                <a16:creationId xmlns:a16="http://schemas.microsoft.com/office/drawing/2014/main" id="{4420B3D1-8D33-0EBE-8EB2-C24589DF7B69}"/>
              </a:ext>
            </a:extLst>
          </p:cNvPr>
          <p:cNvSpPr>
            <a:spLocks noGrp="1"/>
          </p:cNvSpPr>
          <p:nvPr>
            <p:ph type="sldNum" sz="quarter" idx="12"/>
          </p:nvPr>
        </p:nvSpPr>
        <p:spPr>
          <a:xfrm>
            <a:off x="9204960" y="6540123"/>
            <a:ext cx="2743200" cy="153888"/>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8</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Tree>
    <p:extLst>
      <p:ext uri="{BB962C8B-B14F-4D97-AF65-F5344CB8AC3E}">
        <p14:creationId xmlns:p14="http://schemas.microsoft.com/office/powerpoint/2010/main" val="15986243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DD60BF-5B95-45B1-BDA7-663B3D9AA6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7" name="think-cell data - do not delete" hidden="1">
                        <a:extLst>
                          <a:ext uri="{FF2B5EF4-FFF2-40B4-BE49-F238E27FC236}">
                            <a16:creationId xmlns:a16="http://schemas.microsoft.com/office/drawing/2014/main" id="{5ADD60BF-5B95-45B1-BDA7-663B3D9AA6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28FF6BF2-60B7-444C-AE2C-723B08825E7A}"/>
              </a:ext>
            </a:extLst>
          </p:cNvPr>
          <p:cNvSpPr>
            <a:spLocks noGrp="1"/>
          </p:cNvSpPr>
          <p:nvPr>
            <p:ph type="title"/>
          </p:nvPr>
        </p:nvSpPr>
        <p:spPr>
          <a:xfrm>
            <a:off x="1069275" y="273718"/>
            <a:ext cx="10235442" cy="323165"/>
          </a:xfrm>
        </p:spPr>
        <p:txBody>
          <a:bodyPr vert="horz"/>
          <a:lstStyle/>
          <a:p>
            <a:r>
              <a:rPr kumimoji="1" lang="ja-JP" altLang="en-US" dirty="0"/>
              <a:t>おわりに：温暖化抑制のために「今」必要なこと　</a:t>
            </a:r>
          </a:p>
        </p:txBody>
      </p:sp>
      <p:sp>
        <p:nvSpPr>
          <p:cNvPr id="3" name="テキスト プレースホルダー 2">
            <a:extLst>
              <a:ext uri="{FF2B5EF4-FFF2-40B4-BE49-F238E27FC236}">
                <a16:creationId xmlns:a16="http://schemas.microsoft.com/office/drawing/2014/main" id="{EC3B0609-6033-4ECC-A910-CD2F27EA6E7E}"/>
              </a:ext>
            </a:extLst>
          </p:cNvPr>
          <p:cNvSpPr>
            <a:spLocks noGrp="1"/>
          </p:cNvSpPr>
          <p:nvPr>
            <p:ph type="body" sz="quarter" idx="11"/>
          </p:nvPr>
        </p:nvSpPr>
        <p:spPr>
          <a:xfrm>
            <a:off x="977900" y="1066826"/>
            <a:ext cx="10235442" cy="1735416"/>
          </a:xfrm>
        </p:spPr>
        <p:txBody>
          <a:bodyPr/>
          <a:lstStyle/>
          <a:p>
            <a:pPr>
              <a:lnSpc>
                <a:spcPts val="2200"/>
              </a:lnSpc>
              <a:spcBef>
                <a:spcPts val="0"/>
              </a:spcBef>
              <a:spcAft>
                <a:spcPts val="600"/>
              </a:spcAft>
            </a:pPr>
            <a:endParaRPr kumimoji="1" lang="en-US" altLang="ja-JP" dirty="0"/>
          </a:p>
          <a:p>
            <a:pPr>
              <a:lnSpc>
                <a:spcPts val="2200"/>
              </a:lnSpc>
              <a:spcBef>
                <a:spcPts val="0"/>
              </a:spcBef>
              <a:spcAft>
                <a:spcPts val="600"/>
              </a:spcAft>
            </a:pPr>
            <a:r>
              <a:rPr kumimoji="1" lang="en-US" altLang="ja-JP" dirty="0"/>
              <a:t>2050</a:t>
            </a:r>
            <a:r>
              <a:rPr kumimoji="1" lang="ja-JP" altLang="en-US" dirty="0"/>
              <a:t>年ネットゼロ目標が企業にとってのスタンダードとなる中、当社は</a:t>
            </a:r>
            <a:r>
              <a:rPr kumimoji="1" lang="en-US" altLang="ja-JP" dirty="0"/>
              <a:t>2050</a:t>
            </a:r>
            <a:r>
              <a:rPr kumimoji="1" lang="ja-JP" altLang="en-US" dirty="0"/>
              <a:t>年を唯一の目標年として対策を先伸ばしにすることなく、</a:t>
            </a:r>
            <a:r>
              <a:rPr kumimoji="1" lang="ja-JP" altLang="en-US" b="1" dirty="0">
                <a:solidFill>
                  <a:srgbClr val="FF0000"/>
                </a:solidFill>
              </a:rPr>
              <a:t>足元すぐに削減を実現できる施策に優先的に取り組み、世界の動きをリードします。</a:t>
            </a:r>
            <a:endParaRPr kumimoji="1" lang="en-US" altLang="ja-JP" b="1" dirty="0">
              <a:solidFill>
                <a:srgbClr val="FF0000"/>
              </a:solidFill>
            </a:endParaRPr>
          </a:p>
          <a:p>
            <a:pPr>
              <a:lnSpc>
                <a:spcPts val="2200"/>
              </a:lnSpc>
              <a:spcBef>
                <a:spcPts val="0"/>
              </a:spcBef>
              <a:spcAft>
                <a:spcPts val="0"/>
              </a:spcAft>
            </a:pPr>
            <a:r>
              <a:rPr kumimoji="1" lang="ja-JP" altLang="en-US" b="1" dirty="0">
                <a:solidFill>
                  <a:srgbClr val="FF0000"/>
                </a:solidFill>
              </a:rPr>
              <a:t>今すぐ活用可能な低排出舶用燃料である</a:t>
            </a:r>
            <a:r>
              <a:rPr kumimoji="1" lang="en-US" altLang="ja-JP" b="1" dirty="0">
                <a:solidFill>
                  <a:srgbClr val="FF0000"/>
                </a:solidFill>
              </a:rPr>
              <a:t>LNG</a:t>
            </a:r>
            <a:r>
              <a:rPr kumimoji="1" lang="ja-JP" altLang="en-US" b="1" dirty="0">
                <a:solidFill>
                  <a:srgbClr val="FF0000"/>
                </a:solidFill>
              </a:rPr>
              <a:t>等を足元から使用すること、</a:t>
            </a:r>
            <a:r>
              <a:rPr kumimoji="1" lang="ja-JP" altLang="en-US" dirty="0"/>
              <a:t>ネガティブ・エミッション（大気からの</a:t>
            </a:r>
            <a:r>
              <a:rPr kumimoji="1" lang="en-US" altLang="ja-JP" dirty="0"/>
              <a:t>CO2</a:t>
            </a:r>
            <a:r>
              <a:rPr kumimoji="1" lang="ja-JP" altLang="en-US" dirty="0"/>
              <a:t>除去）においても短中期の定量目標を設定して具体的に取り組む等、「今」からの排出削減を進めます。</a:t>
            </a:r>
          </a:p>
        </p:txBody>
      </p:sp>
      <p:sp>
        <p:nvSpPr>
          <p:cNvPr id="8" name="正方形/長方形 7">
            <a:extLst>
              <a:ext uri="{FF2B5EF4-FFF2-40B4-BE49-F238E27FC236}">
                <a16:creationId xmlns:a16="http://schemas.microsoft.com/office/drawing/2014/main" id="{66CDC607-F86D-40E7-AEB6-BFB50EB2DFE6}"/>
              </a:ext>
            </a:extLst>
          </p:cNvPr>
          <p:cNvSpPr/>
          <p:nvPr/>
        </p:nvSpPr>
        <p:spPr>
          <a:xfrm>
            <a:off x="0" y="3501540"/>
            <a:ext cx="10235441" cy="1791961"/>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11" name="正方形/長方形 10">
            <a:extLst>
              <a:ext uri="{FF2B5EF4-FFF2-40B4-BE49-F238E27FC236}">
                <a16:creationId xmlns:a16="http://schemas.microsoft.com/office/drawing/2014/main" id="{F8020AE9-6DB6-456A-95CE-D0F77631E49A}"/>
              </a:ext>
            </a:extLst>
          </p:cNvPr>
          <p:cNvSpPr/>
          <p:nvPr/>
        </p:nvSpPr>
        <p:spPr>
          <a:xfrm>
            <a:off x="7180061" y="3883862"/>
            <a:ext cx="1317042" cy="20756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Segoe UI"/>
              <a:ea typeface="游ゴシック Medium"/>
              <a:cs typeface="+mn-cs"/>
            </a:endParaRPr>
          </a:p>
        </p:txBody>
      </p:sp>
      <p:sp>
        <p:nvSpPr>
          <p:cNvPr id="23" name="正方形/長方形 22">
            <a:extLst>
              <a:ext uri="{FF2B5EF4-FFF2-40B4-BE49-F238E27FC236}">
                <a16:creationId xmlns:a16="http://schemas.microsoft.com/office/drawing/2014/main" id="{AB5B3CB5-73E9-4764-B4CB-0857B122F16D}"/>
              </a:ext>
            </a:extLst>
          </p:cNvPr>
          <p:cNvSpPr/>
          <p:nvPr/>
        </p:nvSpPr>
        <p:spPr>
          <a:xfrm>
            <a:off x="7070539" y="3883862"/>
            <a:ext cx="1317042" cy="207560"/>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Segoe UI"/>
              <a:ea typeface="游ゴシック Medium"/>
              <a:cs typeface="+mn-cs"/>
            </a:endParaRPr>
          </a:p>
        </p:txBody>
      </p:sp>
      <p:sp>
        <p:nvSpPr>
          <p:cNvPr id="18" name="正方形/長方形 17">
            <a:extLst>
              <a:ext uri="{FF2B5EF4-FFF2-40B4-BE49-F238E27FC236}">
                <a16:creationId xmlns:a16="http://schemas.microsoft.com/office/drawing/2014/main" id="{00321C55-7F22-47D0-B928-3EF8EDBB75BA}"/>
              </a:ext>
            </a:extLst>
          </p:cNvPr>
          <p:cNvSpPr/>
          <p:nvPr/>
        </p:nvSpPr>
        <p:spPr>
          <a:xfrm>
            <a:off x="7285976" y="3883862"/>
            <a:ext cx="4160593" cy="13027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eaLnBrk="1" fontAlgn="auto" latinLnBrk="0" hangingPunct="1">
              <a:lnSpc>
                <a:spcPts val="1400"/>
              </a:lnSpc>
              <a:spcBef>
                <a:spcPts val="0"/>
              </a:spcBef>
              <a:spcAft>
                <a:spcPts val="600"/>
              </a:spcAft>
              <a:buClrTx/>
              <a:buSzTx/>
              <a:buFontTx/>
              <a:buNone/>
              <a:tabLst/>
              <a:defRPr/>
            </a:pPr>
            <a:r>
              <a:rPr kumimoji="1" lang="ja-JP" altLang="en-US" sz="14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カーボンバジェットを意識した貢献</a:t>
            </a:r>
            <a:endParaRPr kumimoji="1" lang="en-US" altLang="ja-JP" sz="14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endParaRPr>
          </a:p>
          <a:p>
            <a:pPr marL="0" marR="0" lvl="0" indent="0" algn="l" defTabSz="914400" eaLnBrk="1" fontAlgn="auto" latinLnBrk="0" hangingPunct="1">
              <a:lnSpc>
                <a:spcPts val="14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気温上昇を一定レベルまで抑えるためには、世界全体で排出できる</a:t>
            </a:r>
            <a:r>
              <a:rPr kumimoji="1" lang="en-US" altLang="ja-JP"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GHG</a:t>
            </a:r>
            <a:r>
              <a:rPr kumimoji="1" lang="ja-JP" altLang="en-US"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排出量に上限があります。</a:t>
            </a:r>
            <a:r>
              <a:rPr kumimoji="1" lang="en-US" altLang="ja-JP"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1.5</a:t>
            </a:r>
            <a:r>
              <a:rPr kumimoji="1" lang="ja-JP" altLang="en-US"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実現のために残されたカーボンバジェットは多くありません。十分な排出削減がなければ、</a:t>
            </a:r>
            <a:r>
              <a:rPr kumimoji="1" lang="en-US" altLang="ja-JP"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2050</a:t>
            </a:r>
            <a:r>
              <a:rPr kumimoji="1" lang="ja-JP" altLang="en-US" sz="1200" b="0" i="0" u="none" strike="noStrike" kern="0" cap="none" spc="0" normalizeH="0" baseline="0" noProof="0" dirty="0">
                <a:ln>
                  <a:noFill/>
                </a:ln>
                <a:solidFill>
                  <a:srgbClr val="59595D"/>
                </a:solidFill>
                <a:effectLst/>
                <a:uLnTx/>
                <a:uFillTx/>
                <a:latin typeface="游ゴシック Medium" panose="020B0500000000000000" pitchFamily="50" charset="-128"/>
                <a:ea typeface="游ゴシック Medium" panose="020B0500000000000000" pitchFamily="50" charset="-128"/>
                <a:cs typeface="+mn-cs"/>
              </a:rPr>
              <a:t>年を待たずにその上限を超過してしまう可能性が指摘されています。</a:t>
            </a:r>
          </a:p>
        </p:txBody>
      </p:sp>
      <p:sp>
        <p:nvSpPr>
          <p:cNvPr id="19" name="object 2">
            <a:extLst>
              <a:ext uri="{FF2B5EF4-FFF2-40B4-BE49-F238E27FC236}">
                <a16:creationId xmlns:a16="http://schemas.microsoft.com/office/drawing/2014/main" id="{0BB0E987-DD0D-4633-B464-B34F509DE537}"/>
              </a:ext>
            </a:extLst>
          </p:cNvPr>
          <p:cNvSpPr txBox="1"/>
          <p:nvPr/>
        </p:nvSpPr>
        <p:spPr>
          <a:xfrm>
            <a:off x="8387581" y="5629452"/>
            <a:ext cx="2601586" cy="32060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ja-JP" altLang="en-US" sz="10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参考：</a:t>
            </a:r>
            <a:r>
              <a:rPr kumimoji="0" lang="en-US" altLang="ja-JP" sz="10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Mind the Gap”, Energy </a:t>
            </a:r>
            <a:br>
              <a:rPr kumimoji="0" lang="en-US" altLang="ja-JP" sz="10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br>
            <a:r>
              <a:rPr kumimoji="0" lang="en-US" altLang="ja-JP" sz="10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Transition Commission, 2022</a:t>
            </a:r>
          </a:p>
        </p:txBody>
      </p:sp>
      <p:sp>
        <p:nvSpPr>
          <p:cNvPr id="22" name="object 2">
            <a:extLst>
              <a:ext uri="{FF2B5EF4-FFF2-40B4-BE49-F238E27FC236}">
                <a16:creationId xmlns:a16="http://schemas.microsoft.com/office/drawing/2014/main" id="{3233F2BC-B12F-4050-997C-088BC47134BB}"/>
              </a:ext>
            </a:extLst>
          </p:cNvPr>
          <p:cNvSpPr txBox="1"/>
          <p:nvPr/>
        </p:nvSpPr>
        <p:spPr>
          <a:xfrm>
            <a:off x="7353986" y="3005296"/>
            <a:ext cx="3442947" cy="471924"/>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600"/>
              </a:spcAft>
              <a:buClrTx/>
              <a:buSzTx/>
              <a:buFontTx/>
              <a:buNone/>
              <a:tabLst/>
              <a:defRPr/>
            </a:pPr>
            <a:r>
              <a:rPr kumimoji="0" lang="ja-JP" altLang="en-US"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グレー線：現状の</a:t>
            </a:r>
            <a:r>
              <a:rPr kumimoji="0" lang="en-US" altLang="ja-JP"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CO2</a:t>
            </a:r>
            <a:r>
              <a:rPr kumimoji="0" lang="ja-JP" altLang="en-US"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排出経路想定</a:t>
            </a:r>
            <a:endParaRPr kumimoji="0" lang="en-US" altLang="ja-JP"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endParaRPr>
          </a:p>
          <a:p>
            <a:pPr marL="12700" marR="0" lvl="0" indent="0" algn="l" defTabSz="914400" rtl="0" eaLnBrk="1" fontAlgn="auto" latinLnBrk="0" hangingPunct="1">
              <a:lnSpc>
                <a:spcPct val="100000"/>
              </a:lnSpc>
              <a:spcBef>
                <a:spcPts val="100"/>
              </a:spcBef>
              <a:spcAft>
                <a:spcPts val="600"/>
              </a:spcAft>
              <a:buClrTx/>
              <a:buSzTx/>
              <a:buFontTx/>
              <a:buNone/>
              <a:tabLst/>
              <a:defRPr/>
            </a:pPr>
            <a:r>
              <a:rPr kumimoji="0" lang="ja-JP" altLang="en-US" sz="1200" b="0" i="0" u="none" strike="noStrike" kern="0" cap="none" spc="100" normalizeH="0" baseline="0" noProof="0" dirty="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グリーン線</a:t>
            </a:r>
            <a:r>
              <a:rPr kumimoji="0" lang="ja-JP" altLang="en-US"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a:t>
            </a:r>
            <a:r>
              <a:rPr kumimoji="0" lang="en-US" altLang="ja-JP"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1.5</a:t>
            </a:r>
            <a:r>
              <a:rPr kumimoji="0" lang="ja-JP" altLang="en-US"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rPr>
              <a:t>℃世界のカーボンバジェット</a:t>
            </a:r>
            <a:endParaRPr kumimoji="0" lang="en-US" altLang="ja-JP" sz="1200" b="0" i="0" u="none" strike="noStrike" kern="0" cap="none" spc="100" normalizeH="0" baseline="0" noProof="0" dirty="0">
              <a:ln>
                <a:noFill/>
              </a:ln>
              <a:solidFill>
                <a:srgbClr val="59595D"/>
              </a:solidFill>
              <a:effectLst/>
              <a:uLnTx/>
              <a:uFillTx/>
              <a:latin typeface="Yu Gothic Medium" panose="020B0400000000000000" pitchFamily="34" charset="-128"/>
              <a:ea typeface="Yu Gothic Medium" panose="020B0400000000000000" pitchFamily="34" charset="-128"/>
              <a:cs typeface="YuGothicStd-M"/>
            </a:endParaRPr>
          </a:p>
        </p:txBody>
      </p:sp>
      <p:pic>
        <p:nvPicPr>
          <p:cNvPr id="15" name="object 2">
            <a:extLst>
              <a:ext uri="{FF2B5EF4-FFF2-40B4-BE49-F238E27FC236}">
                <a16:creationId xmlns:a16="http://schemas.microsoft.com/office/drawing/2014/main" id="{839471B1-5C3F-603C-E246-1B6A9270412E}"/>
              </a:ext>
            </a:extLst>
          </p:cNvPr>
          <p:cNvPicPr/>
          <p:nvPr/>
        </p:nvPicPr>
        <p:blipFill>
          <a:blip r:embed="rId5" cstate="print">
            <a:extLst>
              <a:ext uri="{28A0092B-C50C-407E-A947-70E740481C1C}">
                <a14:useLocalDpi xmlns:a14="http://schemas.microsoft.com/office/drawing/2010/main"/>
              </a:ext>
            </a:extLst>
          </a:blip>
          <a:stretch>
            <a:fillRect/>
          </a:stretch>
        </p:blipFill>
        <p:spPr>
          <a:xfrm>
            <a:off x="977900" y="2802242"/>
            <a:ext cx="5398186" cy="3269044"/>
          </a:xfrm>
          <a:prstGeom prst="rect">
            <a:avLst/>
          </a:prstGeom>
        </p:spPr>
      </p:pic>
      <p:sp>
        <p:nvSpPr>
          <p:cNvPr id="4" name="スライド番号プレースホルダー 3">
            <a:extLst>
              <a:ext uri="{FF2B5EF4-FFF2-40B4-BE49-F238E27FC236}">
                <a16:creationId xmlns:a16="http://schemas.microsoft.com/office/drawing/2014/main" id="{62C637AC-0655-7BF6-8983-4884A1DC1F01}"/>
              </a:ext>
            </a:extLst>
          </p:cNvPr>
          <p:cNvSpPr>
            <a:spLocks noGrp="1"/>
          </p:cNvSpPr>
          <p:nvPr>
            <p:ph type="sldNum" sz="quarter" idx="12"/>
          </p:nvPr>
        </p:nvSpPr>
        <p:spPr>
          <a:xfrm>
            <a:off x="9204960" y="6540123"/>
            <a:ext cx="2743200" cy="153888"/>
          </a:xfrm>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19</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Tree>
    <p:extLst>
      <p:ext uri="{BB962C8B-B14F-4D97-AF65-F5344CB8AC3E}">
        <p14:creationId xmlns:p14="http://schemas.microsoft.com/office/powerpoint/2010/main" val="4235969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F4DFFAE1-41B0-0FC7-EE9A-76F8EC8F1C5C}"/>
              </a:ext>
            </a:extLst>
          </p:cNvPr>
          <p:cNvSpPr>
            <a:spLocks noGrp="1"/>
          </p:cNvSpPr>
          <p:nvPr>
            <p:ph type="body" sz="quarter" idx="11"/>
          </p:nvPr>
        </p:nvSpPr>
        <p:spPr>
          <a:xfrm>
            <a:off x="4842733" y="1652435"/>
            <a:ext cx="6293324" cy="3325965"/>
          </a:xfrm>
        </p:spPr>
        <p:txBody>
          <a:bodyPr wrap="square" lIns="0" tIns="0" rIns="0" bIns="0" anchor="t">
            <a:noAutofit/>
          </a:bodyPr>
          <a:lstStyle/>
          <a:p>
            <a:pPr marL="356870"/>
            <a:endParaRPr lang="ja-JP" altLang="en-US" dirty="0">
              <a:cs typeface="Segoe UI"/>
            </a:endParaRPr>
          </a:p>
          <a:p>
            <a:pPr marL="356870"/>
            <a:endParaRPr lang="ja-JP" altLang="en-US" dirty="0">
              <a:cs typeface="Segoe UI"/>
            </a:endParaRPr>
          </a:p>
        </p:txBody>
      </p:sp>
      <p:sp>
        <p:nvSpPr>
          <p:cNvPr id="3" name="タイトル 2">
            <a:extLst>
              <a:ext uri="{FF2B5EF4-FFF2-40B4-BE49-F238E27FC236}">
                <a16:creationId xmlns:a16="http://schemas.microsoft.com/office/drawing/2014/main" id="{A5F43D7E-010E-C4D4-5838-907A0BE72A2B}"/>
              </a:ext>
            </a:extLst>
          </p:cNvPr>
          <p:cNvSpPr>
            <a:spLocks noGrp="1"/>
          </p:cNvSpPr>
          <p:nvPr>
            <p:ph type="title"/>
          </p:nvPr>
        </p:nvSpPr>
        <p:spPr/>
        <p:txBody>
          <a:bodyPr/>
          <a:lstStyle/>
          <a:p>
            <a:r>
              <a:rPr kumimoji="1" lang="ja-JP" altLang="en-US" dirty="0"/>
              <a:t>目次タイトル</a:t>
            </a:r>
          </a:p>
        </p:txBody>
      </p:sp>
      <p:sp>
        <p:nvSpPr>
          <p:cNvPr id="4" name="テキスト プレースホルダー 2">
            <a:extLst>
              <a:ext uri="{FF2B5EF4-FFF2-40B4-BE49-F238E27FC236}">
                <a16:creationId xmlns:a16="http://schemas.microsoft.com/office/drawing/2014/main" id="{7A1539A8-3A4B-53CB-3229-DA4B57E04679}"/>
              </a:ext>
            </a:extLst>
          </p:cNvPr>
          <p:cNvSpPr txBox="1">
            <a:spLocks/>
          </p:cNvSpPr>
          <p:nvPr/>
        </p:nvSpPr>
        <p:spPr>
          <a:xfrm>
            <a:off x="4733925" y="955328"/>
            <a:ext cx="7124699" cy="4495800"/>
          </a:xfrm>
          <a:prstGeom prst="rect">
            <a:avLst/>
          </a:prstGeom>
        </p:spPr>
        <p:txBody>
          <a:bodyPr wrap="square" lIns="0" tIns="0" rIns="0" bIns="0" anchor="ctr">
            <a:noAutofit/>
          </a:bodyPr>
          <a:lstStyle>
            <a:lvl1pPr marL="357300" indent="-342900">
              <a:lnSpc>
                <a:spcPct val="130000"/>
              </a:lnSpc>
              <a:spcBef>
                <a:spcPts val="100"/>
              </a:spcBef>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1pPr>
            <a:lvl2pPr marL="8001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2pPr>
            <a:lvl3pPr marL="12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3pPr>
            <a:lvl4pPr marL="17145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4pPr>
            <a:lvl5pPr marL="21717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1.</a:t>
            </a:r>
            <a:r>
              <a:rPr kumimoji="1" lang="ja-JP" altLang="en-US"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商船三井さんふらわあの概要</a:t>
            </a:r>
            <a:endPar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endParaRPr>
          </a:p>
          <a:p>
            <a:pPr marL="14400" marR="0" lvl="0" indent="0"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FF0000"/>
              </a:solidFill>
            </a:endParaRPr>
          </a:p>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t>2</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商船三井グループ環境ビジョン</a:t>
            </a: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2.2</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の概要</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714375" marR="0" lvl="0" indent="-352425" defTabSz="914400" eaLnBrk="1" fontAlgn="auto" latinLnBrk="0" hangingPunct="1">
              <a:lnSpc>
                <a:spcPct val="100000"/>
              </a:lnSpc>
              <a:spcBef>
                <a:spcPts val="0"/>
              </a:spcBef>
              <a:spcAft>
                <a:spcPts val="600"/>
              </a:spcAft>
              <a:buClrTx/>
              <a:buSzTx/>
              <a:buFont typeface="Wingdings" panose="05000000000000000000" pitchFamily="2" charset="2"/>
              <a:buChar char="ü"/>
              <a:tabLst/>
              <a:defRPr/>
            </a:pPr>
            <a:endParaRPr kumimoji="1" lang="en-US" altLang="ja-JP" sz="1800" b="0"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solidFill>
                  <a:srgbClr val="59595D"/>
                </a:solidFill>
              </a:rPr>
              <a:t>3</a:t>
            </a:r>
            <a:r>
              <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日本初の</a:t>
            </a:r>
            <a:r>
              <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LNG</a:t>
            </a:r>
            <a:r>
              <a:rPr kumimoji="1" lang="ja-JP" altLang="en-US"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燃料フェリー「さんふらわあ くれない・むらさき」</a:t>
            </a:r>
            <a:endPar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59595D"/>
              </a:solidFill>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4.</a:t>
            </a:r>
            <a:r>
              <a:rPr kumimoji="1" lang="ja-JP" altLang="en-US"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終わりに</a:t>
            </a:r>
            <a:endPar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p:txBody>
      </p:sp>
    </p:spTree>
    <p:extLst>
      <p:ext uri="{BB962C8B-B14F-4D97-AF65-F5344CB8AC3E}">
        <p14:creationId xmlns:p14="http://schemas.microsoft.com/office/powerpoint/2010/main" val="3597667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30000"/>
            <a:lum/>
          </a:blip>
          <a:srcRect/>
          <a:stretch>
            <a:fillRect t="-9000" b="-9000"/>
          </a:stretch>
        </a:blipFill>
        <a:effectLst/>
      </p:bgPr>
    </p:bg>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FD9ED-10FE-2434-D191-E543C7E52463}"/>
              </a:ext>
            </a:extLst>
          </p:cNvPr>
          <p:cNvSpPr txBox="1"/>
          <p:nvPr/>
        </p:nvSpPr>
        <p:spPr>
          <a:xfrm>
            <a:off x="3048000" y="3246393"/>
            <a:ext cx="6096000" cy="369332"/>
          </a:xfrm>
          <a:prstGeom prst="rect">
            <a:avLst/>
          </a:prstGeom>
          <a:noFill/>
        </p:spPr>
        <p:txBody>
          <a:bodyPr wrap="square">
            <a:spAutoFit/>
          </a:bodyPr>
          <a:lstStyle/>
          <a:p>
            <a:r>
              <a:rPr lang="ja-JP" altLang="en-US" b="0" i="0" dirty="0">
                <a:solidFill>
                  <a:srgbClr val="000000"/>
                </a:solidFill>
                <a:effectLst/>
                <a:latin typeface="Meiryo" panose="020B0604030504040204" pitchFamily="50" charset="-128"/>
                <a:ea typeface="Meiryo" panose="020B0604030504040204" pitchFamily="50" charset="-128"/>
              </a:rPr>
              <a:t> </a:t>
            </a:r>
            <a:endParaRPr lang="ja-JP" altLang="en-US" dirty="0"/>
          </a:p>
        </p:txBody>
      </p:sp>
      <p:sp>
        <p:nvSpPr>
          <p:cNvPr id="8" name="テキスト ボックス 7">
            <a:extLst>
              <a:ext uri="{FF2B5EF4-FFF2-40B4-BE49-F238E27FC236}">
                <a16:creationId xmlns:a16="http://schemas.microsoft.com/office/drawing/2014/main" id="{84BC8E8D-EA36-C136-A656-7831D71BF88F}"/>
              </a:ext>
            </a:extLst>
          </p:cNvPr>
          <p:cNvSpPr txBox="1"/>
          <p:nvPr/>
        </p:nvSpPr>
        <p:spPr>
          <a:xfrm>
            <a:off x="1982526" y="1880346"/>
            <a:ext cx="5157746" cy="461665"/>
          </a:xfrm>
          <a:prstGeom prst="rect">
            <a:avLst/>
          </a:prstGeom>
          <a:noFill/>
        </p:spPr>
        <p:txBody>
          <a:bodyPr wrap="square">
            <a:spAutoFit/>
          </a:bodyPr>
          <a:lstStyle/>
          <a:p>
            <a:r>
              <a:rPr lang="ja-JP" altLang="en-US" sz="2400" dirty="0">
                <a:latin typeface="Meiryo UI" panose="020B0604030504040204" pitchFamily="50" charset="-128"/>
                <a:ea typeface="Meiryo UI" panose="020B0604030504040204" pitchFamily="50" charset="-128"/>
              </a:rPr>
              <a:t>ご清聴ありがとうございました</a:t>
            </a:r>
          </a:p>
        </p:txBody>
      </p:sp>
      <p:sp>
        <p:nvSpPr>
          <p:cNvPr id="2" name="スライド番号プレースホルダー 3">
            <a:extLst>
              <a:ext uri="{FF2B5EF4-FFF2-40B4-BE49-F238E27FC236}">
                <a16:creationId xmlns:a16="http://schemas.microsoft.com/office/drawing/2014/main" id="{0E46FAD4-1E40-DD94-EE10-7E8B09DBD811}"/>
              </a:ext>
            </a:extLst>
          </p:cNvPr>
          <p:cNvSpPr txBox="1">
            <a:spLocks/>
          </p:cNvSpPr>
          <p:nvPr/>
        </p:nvSpPr>
        <p:spPr>
          <a:xfrm>
            <a:off x="9204960" y="6540123"/>
            <a:ext cx="2743200" cy="153888"/>
          </a:xfrm>
          <a:prstGeom prst="rect">
            <a:avLst/>
          </a:prstGeom>
        </p:spPr>
        <p:txBody>
          <a:bodyPr/>
          <a:lstStyle>
            <a:defPPr>
              <a:defRPr kern="0"/>
            </a:defPPr>
          </a:lstStyle>
          <a:p>
            <a:pPr algn="r">
              <a:defRPr/>
            </a:pPr>
            <a:fld id="{34A25005-A456-2C43-92D8-007A27047B97}" type="slidenum">
              <a:rPr kumimoji="1" lang="ja-JP" altLang="en-US" sz="1000" smtClean="0">
                <a:solidFill>
                  <a:srgbClr val="FFFFFF"/>
                </a:solidFill>
                <a:latin typeface="Yu Gothic Medium" panose="020B0400000000000000" pitchFamily="34" charset="-128"/>
                <a:ea typeface="Yu Gothic Medium" panose="020B0400000000000000" pitchFamily="34" charset="-128"/>
                <a:cs typeface="Arial" panose="020B0604020202020204" pitchFamily="34" charset="0"/>
              </a:rPr>
              <a:pPr algn="r">
                <a:defRPr/>
              </a:pPr>
              <a:t>20</a:t>
            </a:fld>
            <a:endParaRPr kumimoji="1" lang="ja-JP" altLang="en-US" sz="1000" dirty="0">
              <a:solidFill>
                <a:srgbClr val="FFFFFF"/>
              </a:solidFill>
              <a:latin typeface="Yu Gothic Medium" panose="020B0400000000000000" pitchFamily="34" charset="-128"/>
              <a:ea typeface="Yu Gothic Medium" panose="020B0400000000000000" pitchFamily="34" charset="-128"/>
              <a:cs typeface="Arial" panose="020B0604020202020204" pitchFamily="34" charset="0"/>
            </a:endParaRPr>
          </a:p>
        </p:txBody>
      </p:sp>
      <p:pic>
        <p:nvPicPr>
          <p:cNvPr id="7" name="図 6" descr="テキスト, ロゴ&#10;&#10;自動的に生成された説明">
            <a:extLst>
              <a:ext uri="{FF2B5EF4-FFF2-40B4-BE49-F238E27FC236}">
                <a16:creationId xmlns:a16="http://schemas.microsoft.com/office/drawing/2014/main" id="{DE472A29-CD3E-77D5-DBBE-E65A9D50AB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30562" y="4771582"/>
            <a:ext cx="1262613" cy="829470"/>
          </a:xfrm>
          <a:prstGeom prst="rect">
            <a:avLst/>
          </a:prstGeom>
        </p:spPr>
      </p:pic>
      <p:pic>
        <p:nvPicPr>
          <p:cNvPr id="11" name="図 10" descr="ロゴ&#10;&#10;中程度の精度で自動的に生成された説明">
            <a:extLst>
              <a:ext uri="{FF2B5EF4-FFF2-40B4-BE49-F238E27FC236}">
                <a16:creationId xmlns:a16="http://schemas.microsoft.com/office/drawing/2014/main" id="{AC446B02-4F7D-3AFE-C0B5-AE8FD89FD25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03906" y="5677996"/>
            <a:ext cx="2915926" cy="939071"/>
          </a:xfrm>
          <a:prstGeom prst="rect">
            <a:avLst/>
          </a:prstGeom>
        </p:spPr>
      </p:pic>
    </p:spTree>
    <p:extLst>
      <p:ext uri="{BB962C8B-B14F-4D97-AF65-F5344CB8AC3E}">
        <p14:creationId xmlns:p14="http://schemas.microsoft.com/office/powerpoint/2010/main" val="1044430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テキスト ボックス 25">
            <a:extLst>
              <a:ext uri="{FF2B5EF4-FFF2-40B4-BE49-F238E27FC236}">
                <a16:creationId xmlns:a16="http://schemas.microsoft.com/office/drawing/2014/main" id="{B3D1CF4B-BB46-82BD-5216-9B7335AC0034}"/>
              </a:ext>
            </a:extLst>
          </p:cNvPr>
          <p:cNvSpPr txBox="1"/>
          <p:nvPr/>
        </p:nvSpPr>
        <p:spPr>
          <a:xfrm>
            <a:off x="752972" y="943772"/>
            <a:ext cx="10629086" cy="1473160"/>
          </a:xfrm>
          <a:prstGeom prst="rect">
            <a:avLst/>
          </a:prstGeom>
          <a:noFill/>
        </p:spPr>
        <p:txBody>
          <a:bodyPr wrap="square" lIns="91440" tIns="45720" rIns="91440" bIns="45720" rtlCol="0" anchor="t">
            <a:spAutoFit/>
          </a:bodyPr>
          <a:lstStyle/>
          <a:p>
            <a:pPr marL="285750" indent="-285750" algn="l" rtl="0" fontAlgn="base">
              <a:lnSpc>
                <a:spcPts val="2200"/>
              </a:lnSpc>
              <a:spcAft>
                <a:spcPct val="0"/>
              </a:spcAft>
              <a:buFont typeface="Wingdings" panose="05000000000000000000" pitchFamily="2" charset="2"/>
              <a:buChar char="Ø"/>
              <a:defRPr/>
            </a:pPr>
            <a:r>
              <a:rPr kumimoji="1" lang="ja-JP" altLang="en-US" sz="1600" b="1" i="0" u="none" strike="noStrike" kern="1200" cap="none" spc="0" normalizeH="0" baseline="0" noProof="0" dirty="0">
                <a:ln>
                  <a:noFill/>
                </a:ln>
                <a:solidFill>
                  <a:schemeClr val="tx1"/>
                </a:solidFill>
                <a:effectLst/>
                <a:uLnTx/>
                <a:uFillTx/>
                <a:latin typeface="Meiryo UI"/>
                <a:ea typeface="Meiryo UI"/>
              </a:rPr>
              <a:t>物流事業においては、国内最大規模の海上輸送ネットワークで重要拠点を結び、</a:t>
            </a:r>
            <a:r>
              <a:rPr kumimoji="1" lang="ja-JP" altLang="en-US" sz="1600" b="1" i="0" u="none" strike="noStrike" kern="1200" cap="none" spc="0" normalizeH="0" baseline="0" noProof="0" dirty="0">
                <a:ln>
                  <a:noFill/>
                </a:ln>
                <a:solidFill>
                  <a:schemeClr val="accent1"/>
                </a:solidFill>
                <a:effectLst/>
                <a:uLnTx/>
                <a:uFillTx/>
                <a:latin typeface="Meiryo UI"/>
                <a:ea typeface="Meiryo UI"/>
              </a:rPr>
              <a:t>トラックドライバー不足や環境負荷低減のソリューション</a:t>
            </a:r>
            <a:r>
              <a:rPr kumimoji="1" lang="ja-JP" altLang="en-US" sz="1600" b="1" i="0" u="none" strike="noStrike" kern="1200" cap="none" spc="0" normalizeH="0" baseline="0" noProof="0" dirty="0">
                <a:ln>
                  <a:noFill/>
                </a:ln>
                <a:solidFill>
                  <a:srgbClr val="4D4D4D"/>
                </a:solidFill>
                <a:effectLst/>
                <a:uLnTx/>
                <a:uFillTx/>
                <a:latin typeface="Meiryo UI"/>
                <a:ea typeface="Meiryo UI"/>
              </a:rPr>
              <a:t>と</a:t>
            </a:r>
            <a:r>
              <a:rPr kumimoji="1" lang="ja-JP" altLang="en-US" sz="1600" b="1" i="0" u="none" strike="noStrike" kern="1200" cap="none" spc="0" normalizeH="0" baseline="0" noProof="0" dirty="0">
                <a:ln>
                  <a:noFill/>
                </a:ln>
                <a:solidFill>
                  <a:schemeClr val="tx1"/>
                </a:solidFill>
                <a:effectLst/>
                <a:uLnTx/>
                <a:uFillTx/>
                <a:latin typeface="Meiryo UI"/>
                <a:ea typeface="Meiryo UI"/>
              </a:rPr>
              <a:t>なる「モーダルシフト」の受け皿となり、</a:t>
            </a:r>
            <a:r>
              <a:rPr kumimoji="1" lang="ja-JP" altLang="en-US" sz="1600" b="1" i="0" u="none" strike="noStrike" kern="1200" cap="none" spc="0" normalizeH="0" baseline="0" noProof="0" dirty="0">
                <a:ln>
                  <a:noFill/>
                </a:ln>
                <a:solidFill>
                  <a:schemeClr val="accent1"/>
                </a:solidFill>
                <a:effectLst/>
                <a:uLnTx/>
                <a:uFillTx/>
                <a:latin typeface="Meiryo UI"/>
                <a:ea typeface="Meiryo UI"/>
              </a:rPr>
              <a:t>社会と環境に優しい輸送手段として国内物流を支える。</a:t>
            </a:r>
            <a:endParaRPr lang="en-US" altLang="ja-JP" sz="1600" b="1" i="0" u="none" strike="noStrike" kern="1200" cap="none" spc="0" normalizeH="0" baseline="0" noProof="0" dirty="0">
              <a:ln>
                <a:noFill/>
              </a:ln>
              <a:solidFill>
                <a:schemeClr val="accent1"/>
              </a:solidFill>
              <a:effectLst/>
              <a:uLnTx/>
              <a:uFillTx/>
              <a:latin typeface="Meiryo UI"/>
              <a:ea typeface="Meiryo UI"/>
            </a:endParaRPr>
          </a:p>
          <a:p>
            <a:pPr rtl="0">
              <a:lnSpc>
                <a:spcPts val="2200"/>
              </a:lnSpc>
            </a:pPr>
            <a:r>
              <a:rPr kumimoji="1" lang="ja-JP" altLang="en-US" sz="1600" b="1" dirty="0">
                <a:solidFill>
                  <a:srgbClr val="4D4D4D"/>
                </a:solidFill>
                <a:latin typeface="Meiryo UI"/>
                <a:ea typeface="Meiryo UI"/>
                <a:cs typeface="Arial"/>
              </a:rPr>
              <a:t>　　</a:t>
            </a:r>
            <a:r>
              <a:rPr kumimoji="1" lang="ja-JP" altLang="en-US" sz="1600" b="1" dirty="0">
                <a:solidFill>
                  <a:schemeClr val="tx1"/>
                </a:solidFill>
                <a:latin typeface="Meiryo UI"/>
                <a:ea typeface="Meiryo UI"/>
                <a:cs typeface="Arial"/>
              </a:rPr>
              <a:t>また、災害発生時の</a:t>
            </a:r>
            <a:r>
              <a:rPr kumimoji="1" lang="en-US" altLang="ja-JP" sz="1600" b="1" dirty="0">
                <a:solidFill>
                  <a:schemeClr val="accent1"/>
                </a:solidFill>
                <a:latin typeface="Meiryo UI"/>
                <a:ea typeface="Meiryo UI"/>
                <a:cs typeface="Arial"/>
              </a:rPr>
              <a:t>BCP</a:t>
            </a:r>
            <a:r>
              <a:rPr kumimoji="1" lang="ja-JP" altLang="en-US" sz="1600" b="1" dirty="0">
                <a:solidFill>
                  <a:schemeClr val="accent1"/>
                </a:solidFill>
                <a:latin typeface="Meiryo UI"/>
                <a:ea typeface="Meiryo UI"/>
                <a:cs typeface="Arial"/>
              </a:rPr>
              <a:t>対応</a:t>
            </a:r>
            <a:r>
              <a:rPr kumimoji="1" lang="ja-JP" altLang="en-US" sz="1600" b="1" dirty="0">
                <a:solidFill>
                  <a:schemeClr val="tx1"/>
                </a:solidFill>
                <a:latin typeface="Meiryo UI"/>
                <a:ea typeface="Meiryo UI"/>
                <a:cs typeface="Arial"/>
              </a:rPr>
              <a:t>として、陸路物流網が遮断されても継続的な輸送を提供している。 </a:t>
            </a:r>
            <a:r>
              <a:rPr kumimoji="1" lang="en-US" altLang="ja-JP" sz="1600" b="1" dirty="0">
                <a:solidFill>
                  <a:schemeClr val="tx1"/>
                </a:solidFill>
                <a:latin typeface="Meiryo UI"/>
                <a:ea typeface="+mn-ea"/>
                <a:cs typeface="Arial"/>
              </a:rPr>
              <a:t>​</a:t>
            </a:r>
            <a:endParaRPr lang="en-US" altLang="ja-JP" sz="1600" b="1" dirty="0">
              <a:solidFill>
                <a:schemeClr val="tx1"/>
              </a:solidFill>
              <a:latin typeface="Meiryo UI"/>
              <a:ea typeface="+mn-ea"/>
              <a:cs typeface="Arial"/>
            </a:endParaRPr>
          </a:p>
          <a:p>
            <a:pPr marL="285750" indent="-285750" rtl="0">
              <a:lnSpc>
                <a:spcPts val="2200"/>
              </a:lnSpc>
              <a:buFont typeface="Wingdings" panose="05000000000000000000" pitchFamily="2" charset="2"/>
              <a:buChar char="Ø"/>
            </a:pPr>
            <a:r>
              <a:rPr kumimoji="1" lang="ja-JP" altLang="en-US" sz="1600" b="1" dirty="0">
                <a:solidFill>
                  <a:schemeClr val="tx1"/>
                </a:solidFill>
                <a:latin typeface="Meiryo UI"/>
                <a:ea typeface="Meiryo UI"/>
                <a:cs typeface="Arial"/>
              </a:rPr>
              <a:t>旅客事業においては、気軽に非日常の船旅を体験いただける「</a:t>
            </a:r>
            <a:r>
              <a:rPr kumimoji="1" lang="en-US" altLang="ja-JP" sz="1600" b="1" dirty="0" err="1">
                <a:solidFill>
                  <a:schemeClr val="accent1"/>
                </a:solidFill>
                <a:latin typeface="Meiryo UI"/>
                <a:ea typeface="Meiryo UI"/>
                <a:cs typeface="Arial"/>
              </a:rPr>
              <a:t>カジュアルクルーズ</a:t>
            </a:r>
            <a:r>
              <a:rPr kumimoji="1" lang="ja-JP" altLang="en-US" sz="1600" b="1" dirty="0">
                <a:solidFill>
                  <a:schemeClr val="tx1"/>
                </a:solidFill>
                <a:latin typeface="Meiryo UI"/>
                <a:ea typeface="Meiryo UI"/>
                <a:cs typeface="Arial"/>
              </a:rPr>
              <a:t>」をコンセプトとしたサービスを提供する。</a:t>
            </a:r>
            <a:endParaRPr lang="en-US" altLang="ja-JP" sz="1600" b="1" i="0" u="none" strike="noStrike" kern="1200" cap="none" spc="0" normalizeH="0" baseline="0" noProof="0" dirty="0">
              <a:ln>
                <a:noFill/>
              </a:ln>
              <a:solidFill>
                <a:schemeClr val="tx1"/>
              </a:solidFill>
              <a:effectLst/>
              <a:uLnTx/>
              <a:uFillTx/>
              <a:latin typeface="Meiryo UI"/>
              <a:ea typeface="Meiryo UI"/>
            </a:endParaRPr>
          </a:p>
          <a:p>
            <a:pPr marL="285750" indent="-285750" algn="l" rtl="0" fontAlgn="base">
              <a:lnSpc>
                <a:spcPts val="2200"/>
              </a:lnSpc>
              <a:spcAft>
                <a:spcPct val="0"/>
              </a:spcAft>
              <a:buFont typeface="Wingdings" panose="05000000000000000000" pitchFamily="2" charset="2"/>
              <a:buChar char="Ø"/>
              <a:defRPr/>
            </a:pPr>
            <a:endParaRPr lang="en-US" altLang="ja-JP" sz="1600" b="1" i="0" u="none" strike="noStrike" kern="1200" cap="none" spc="0" normalizeH="0" baseline="0" noProof="0" dirty="0">
              <a:ln>
                <a:noFill/>
              </a:ln>
              <a:solidFill>
                <a:srgbClr val="4D4D4D"/>
              </a:solidFill>
              <a:effectLst/>
              <a:uLnTx/>
              <a:uFillTx/>
              <a:latin typeface="Meiryo UI"/>
              <a:ea typeface="Meiryo UI"/>
            </a:endParaRPr>
          </a:p>
        </p:txBody>
      </p:sp>
      <p:pic>
        <p:nvPicPr>
          <p:cNvPr id="6" name="図 5" descr="テキスト&#10;&#10;説明は自動で生成されたものです">
            <a:extLst>
              <a:ext uri="{FF2B5EF4-FFF2-40B4-BE49-F238E27FC236}">
                <a16:creationId xmlns:a16="http://schemas.microsoft.com/office/drawing/2014/main" id="{FE26CDEF-02B7-858B-9601-640B75F848E0}"/>
              </a:ext>
            </a:extLst>
          </p:cNvPr>
          <p:cNvPicPr>
            <a:picLocks noChangeAspect="1"/>
          </p:cNvPicPr>
          <p:nvPr/>
        </p:nvPicPr>
        <p:blipFill>
          <a:blip r:embed="rId3"/>
          <a:stretch>
            <a:fillRect/>
          </a:stretch>
        </p:blipFill>
        <p:spPr>
          <a:xfrm>
            <a:off x="263913" y="2355865"/>
            <a:ext cx="6302297" cy="3865415"/>
          </a:xfrm>
          <a:prstGeom prst="rect">
            <a:avLst/>
          </a:prstGeom>
        </p:spPr>
      </p:pic>
      <p:pic>
        <p:nvPicPr>
          <p:cNvPr id="7" name="図 6" descr="ダイアグラム&#10;&#10;説明は自動で生成されたものです">
            <a:extLst>
              <a:ext uri="{FF2B5EF4-FFF2-40B4-BE49-F238E27FC236}">
                <a16:creationId xmlns:a16="http://schemas.microsoft.com/office/drawing/2014/main" id="{52A833FE-21B8-56CA-436D-452954A36D19}"/>
              </a:ext>
            </a:extLst>
          </p:cNvPr>
          <p:cNvPicPr>
            <a:picLocks noChangeAspect="1"/>
          </p:cNvPicPr>
          <p:nvPr/>
        </p:nvPicPr>
        <p:blipFill>
          <a:blip r:embed="rId4"/>
          <a:stretch>
            <a:fillRect/>
          </a:stretch>
        </p:blipFill>
        <p:spPr>
          <a:xfrm>
            <a:off x="6573644" y="2357335"/>
            <a:ext cx="5233639" cy="3723085"/>
          </a:xfrm>
          <a:prstGeom prst="rect">
            <a:avLst/>
          </a:prstGeom>
        </p:spPr>
      </p:pic>
      <p:sp>
        <p:nvSpPr>
          <p:cNvPr id="5" name="タイトル 6">
            <a:extLst>
              <a:ext uri="{FF2B5EF4-FFF2-40B4-BE49-F238E27FC236}">
                <a16:creationId xmlns:a16="http://schemas.microsoft.com/office/drawing/2014/main" id="{1C76DA6E-0DD4-1637-8854-97AF9B5274FF}"/>
              </a:ext>
            </a:extLst>
          </p:cNvPr>
          <p:cNvSpPr txBox="1">
            <a:spLocks/>
          </p:cNvSpPr>
          <p:nvPr/>
        </p:nvSpPr>
        <p:spPr>
          <a:xfrm>
            <a:off x="905505" y="301096"/>
            <a:ext cx="10235442" cy="323165"/>
          </a:xfrm>
          <a:prstGeom prst="rect">
            <a:avLst/>
          </a:prstGeom>
        </p:spPr>
        <p:txBody>
          <a:bodyPr wrap="square" lIns="0" tIns="0" rIns="0" bIns="0">
            <a:noAutofit/>
          </a:bodyPr>
          <a:lstStyle>
            <a:lvl1pPr>
              <a:defRPr sz="2100" b="1" i="0" cap="none" spc="0" baseline="0">
                <a:solidFill>
                  <a:srgbClr val="005295"/>
                </a:solidFill>
                <a:latin typeface="Segoe UI" panose="020B0502040204020203" pitchFamily="34" charset="0"/>
                <a:ea typeface="Meiryo UI" panose="020B0604030504040204" pitchFamily="34" charset="-128"/>
                <a:cs typeface="YuGothicStd-L"/>
              </a:defRPr>
            </a:lvl1pPr>
          </a:lstStyle>
          <a:p>
            <a:r>
              <a:rPr lang="ja-JP" altLang="en-US" b="1" dirty="0">
                <a:latin typeface="+mj-ea"/>
                <a:ea typeface="+mj-ea"/>
              </a:rPr>
              <a:t>商船三井さんふらわあ：フェリー・内航RORO船事業（旅客も、貨物も、）</a:t>
            </a:r>
            <a:br>
              <a:rPr kumimoji="1" lang="ja-JP" altLang="en-US" sz="2800" b="1" dirty="0">
                <a:latin typeface="+mj-ea"/>
                <a:ea typeface="+mj-ea"/>
              </a:rPr>
            </a:br>
            <a:endParaRPr lang="ja-JP" altLang="en-US" dirty="0"/>
          </a:p>
        </p:txBody>
      </p:sp>
      <p:pic>
        <p:nvPicPr>
          <p:cNvPr id="2" name="図 1">
            <a:extLst>
              <a:ext uri="{FF2B5EF4-FFF2-40B4-BE49-F238E27FC236}">
                <a16:creationId xmlns:a16="http://schemas.microsoft.com/office/drawing/2014/main" id="{694EFDEB-B19E-ACA9-0B92-B3F88122ACA2}"/>
              </a:ext>
            </a:extLst>
          </p:cNvPr>
          <p:cNvPicPr>
            <a:picLocks noChangeAspect="1"/>
          </p:cNvPicPr>
          <p:nvPr/>
        </p:nvPicPr>
        <p:blipFill rotWithShape="1">
          <a:blip r:embed="rId5"/>
          <a:srcRect t="6968"/>
          <a:stretch/>
        </p:blipFill>
        <p:spPr>
          <a:xfrm>
            <a:off x="9933180" y="80972"/>
            <a:ext cx="2086023" cy="732349"/>
          </a:xfrm>
          <a:prstGeom prst="rect">
            <a:avLst/>
          </a:prstGeom>
        </p:spPr>
      </p:pic>
    </p:spTree>
    <p:extLst>
      <p:ext uri="{BB962C8B-B14F-4D97-AF65-F5344CB8AC3E}">
        <p14:creationId xmlns:p14="http://schemas.microsoft.com/office/powerpoint/2010/main" val="18415396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グループ化 71">
            <a:extLst>
              <a:ext uri="{FF2B5EF4-FFF2-40B4-BE49-F238E27FC236}">
                <a16:creationId xmlns:a16="http://schemas.microsoft.com/office/drawing/2014/main" id="{47FF646D-07AD-AEF3-48DF-81F0CB24F623}"/>
              </a:ext>
            </a:extLst>
          </p:cNvPr>
          <p:cNvGrpSpPr/>
          <p:nvPr/>
        </p:nvGrpSpPr>
        <p:grpSpPr>
          <a:xfrm>
            <a:off x="823243" y="894028"/>
            <a:ext cx="10759158" cy="1702297"/>
            <a:chOff x="713514" y="1054216"/>
            <a:chExt cx="10783161" cy="1831482"/>
          </a:xfrm>
        </p:grpSpPr>
        <p:grpSp>
          <p:nvGrpSpPr>
            <p:cNvPr id="73" name="グループ化 72">
              <a:extLst>
                <a:ext uri="{FF2B5EF4-FFF2-40B4-BE49-F238E27FC236}">
                  <a16:creationId xmlns:a16="http://schemas.microsoft.com/office/drawing/2014/main" id="{5EFF7AC9-F11B-3EE8-C1D2-CA8AA24E5681}"/>
                </a:ext>
              </a:extLst>
            </p:cNvPr>
            <p:cNvGrpSpPr/>
            <p:nvPr/>
          </p:nvGrpSpPr>
          <p:grpSpPr>
            <a:xfrm>
              <a:off x="713514" y="1054216"/>
              <a:ext cx="3384000" cy="1831482"/>
              <a:chOff x="713514" y="1054216"/>
              <a:chExt cx="3384000" cy="1831482"/>
            </a:xfrm>
          </p:grpSpPr>
          <p:sp>
            <p:nvSpPr>
              <p:cNvPr id="88" name="正方形/長方形 87">
                <a:extLst>
                  <a:ext uri="{FF2B5EF4-FFF2-40B4-BE49-F238E27FC236}">
                    <a16:creationId xmlns:a16="http://schemas.microsoft.com/office/drawing/2014/main" id="{C845CA0C-FC3B-892B-27EE-F15BB42314C9}"/>
                  </a:ext>
                </a:extLst>
              </p:cNvPr>
              <p:cNvSpPr/>
              <p:nvPr/>
            </p:nvSpPr>
            <p:spPr>
              <a:xfrm>
                <a:off x="1318259" y="1054216"/>
                <a:ext cx="217451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ドライバルク船事業</a:t>
                </a:r>
              </a:p>
            </p:txBody>
          </p:sp>
          <p:grpSp>
            <p:nvGrpSpPr>
              <p:cNvPr id="89" name="グループ化 88">
                <a:extLst>
                  <a:ext uri="{FF2B5EF4-FFF2-40B4-BE49-F238E27FC236}">
                    <a16:creationId xmlns:a16="http://schemas.microsoft.com/office/drawing/2014/main" id="{ACD8D08D-4E6F-30A2-66BA-FA3CD6C687ED}"/>
                  </a:ext>
                </a:extLst>
              </p:cNvPr>
              <p:cNvGrpSpPr/>
              <p:nvPr/>
            </p:nvGrpSpPr>
            <p:grpSpPr>
              <a:xfrm>
                <a:off x="713514" y="1553698"/>
                <a:ext cx="3384000" cy="1332000"/>
                <a:chOff x="713514" y="1553698"/>
                <a:chExt cx="3384000" cy="1332000"/>
              </a:xfrm>
            </p:grpSpPr>
            <p:pic>
              <p:nvPicPr>
                <p:cNvPr id="90" name="Picture 2">
                  <a:extLst>
                    <a:ext uri="{FF2B5EF4-FFF2-40B4-BE49-F238E27FC236}">
                      <a16:creationId xmlns:a16="http://schemas.microsoft.com/office/drawing/2014/main" id="{F93D2FE0-528E-A136-C39C-D63681F7884B}"/>
                    </a:ext>
                  </a:extLst>
                </p:cNvPr>
                <p:cNvPicPr preferRelativeResize="0">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3514" y="1553698"/>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91" name="グループ化 90">
                  <a:extLst>
                    <a:ext uri="{FF2B5EF4-FFF2-40B4-BE49-F238E27FC236}">
                      <a16:creationId xmlns:a16="http://schemas.microsoft.com/office/drawing/2014/main" id="{81D7F43F-F3BA-C85C-8C31-3271F12A1426}"/>
                    </a:ext>
                  </a:extLst>
                </p:cNvPr>
                <p:cNvGrpSpPr/>
                <p:nvPr/>
              </p:nvGrpSpPr>
              <p:grpSpPr>
                <a:xfrm>
                  <a:off x="713514" y="1553698"/>
                  <a:ext cx="3384000" cy="1332000"/>
                  <a:chOff x="713514" y="1553698"/>
                  <a:chExt cx="3384000" cy="1332000"/>
                </a:xfrm>
              </p:grpSpPr>
              <p:sp>
                <p:nvSpPr>
                  <p:cNvPr id="92" name="直角三角形 91">
                    <a:extLst>
                      <a:ext uri="{FF2B5EF4-FFF2-40B4-BE49-F238E27FC236}">
                        <a16:creationId xmlns:a16="http://schemas.microsoft.com/office/drawing/2014/main" id="{F56468B2-3010-5A53-8A6B-3A5C9759D3CA}"/>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直角三角形 92">
                    <a:extLst>
                      <a:ext uri="{FF2B5EF4-FFF2-40B4-BE49-F238E27FC236}">
                        <a16:creationId xmlns:a16="http://schemas.microsoft.com/office/drawing/2014/main" id="{37F23B55-D0B7-5825-BC4C-A41E0396E5A2}"/>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74" name="グループ化 73">
              <a:extLst>
                <a:ext uri="{FF2B5EF4-FFF2-40B4-BE49-F238E27FC236}">
                  <a16:creationId xmlns:a16="http://schemas.microsoft.com/office/drawing/2014/main" id="{53E4EEA2-E27F-1C05-C611-008B3797550D}"/>
                </a:ext>
              </a:extLst>
            </p:cNvPr>
            <p:cNvGrpSpPr/>
            <p:nvPr/>
          </p:nvGrpSpPr>
          <p:grpSpPr>
            <a:xfrm>
              <a:off x="4413095" y="1054216"/>
              <a:ext cx="3384000" cy="1831482"/>
              <a:chOff x="4413095" y="1054216"/>
              <a:chExt cx="3384000" cy="1831482"/>
            </a:xfrm>
          </p:grpSpPr>
          <p:sp>
            <p:nvSpPr>
              <p:cNvPr id="82" name="正方形/長方形 81">
                <a:extLst>
                  <a:ext uri="{FF2B5EF4-FFF2-40B4-BE49-F238E27FC236}">
                    <a16:creationId xmlns:a16="http://schemas.microsoft.com/office/drawing/2014/main" id="{42148F1F-FC89-2750-D828-25CE270FB05B}"/>
                  </a:ext>
                </a:extLst>
              </p:cNvPr>
              <p:cNvSpPr/>
              <p:nvPr/>
            </p:nvSpPr>
            <p:spPr>
              <a:xfrm>
                <a:off x="5017840" y="1054216"/>
                <a:ext cx="217451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油送船事業</a:t>
                </a:r>
              </a:p>
            </p:txBody>
          </p:sp>
          <p:grpSp>
            <p:nvGrpSpPr>
              <p:cNvPr id="83" name="グループ化 82">
                <a:extLst>
                  <a:ext uri="{FF2B5EF4-FFF2-40B4-BE49-F238E27FC236}">
                    <a16:creationId xmlns:a16="http://schemas.microsoft.com/office/drawing/2014/main" id="{21BD7509-145F-0FC4-A053-AB78D6458F69}"/>
                  </a:ext>
                </a:extLst>
              </p:cNvPr>
              <p:cNvGrpSpPr/>
              <p:nvPr/>
            </p:nvGrpSpPr>
            <p:grpSpPr>
              <a:xfrm>
                <a:off x="4413095" y="1553698"/>
                <a:ext cx="3384000" cy="1332000"/>
                <a:chOff x="4413095" y="1553698"/>
                <a:chExt cx="3384000" cy="1332000"/>
              </a:xfrm>
            </p:grpSpPr>
            <p:pic>
              <p:nvPicPr>
                <p:cNvPr id="84" name="Picture 4">
                  <a:extLst>
                    <a:ext uri="{FF2B5EF4-FFF2-40B4-BE49-F238E27FC236}">
                      <a16:creationId xmlns:a16="http://schemas.microsoft.com/office/drawing/2014/main" id="{4431F4DD-26D9-90DD-9B07-575AB517CC83}"/>
                    </a:ext>
                  </a:extLst>
                </p:cNvPr>
                <p:cNvPicPr preferRelativeResize="0">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413095" y="1553698"/>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85" name="グループ化 84">
                  <a:extLst>
                    <a:ext uri="{FF2B5EF4-FFF2-40B4-BE49-F238E27FC236}">
                      <a16:creationId xmlns:a16="http://schemas.microsoft.com/office/drawing/2014/main" id="{61B6D275-48A2-77F0-9C5E-5247F0D60AF2}"/>
                    </a:ext>
                  </a:extLst>
                </p:cNvPr>
                <p:cNvGrpSpPr/>
                <p:nvPr/>
              </p:nvGrpSpPr>
              <p:grpSpPr>
                <a:xfrm>
                  <a:off x="4413095" y="1553698"/>
                  <a:ext cx="3384000" cy="1332000"/>
                  <a:chOff x="713514" y="1553698"/>
                  <a:chExt cx="3384000" cy="1332000"/>
                </a:xfrm>
              </p:grpSpPr>
              <p:sp>
                <p:nvSpPr>
                  <p:cNvPr id="86" name="直角三角形 85">
                    <a:extLst>
                      <a:ext uri="{FF2B5EF4-FFF2-40B4-BE49-F238E27FC236}">
                        <a16:creationId xmlns:a16="http://schemas.microsoft.com/office/drawing/2014/main" id="{C339582C-21D4-AC0C-E0E1-81EED510A7FB}"/>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直角三角形 86">
                    <a:extLst>
                      <a:ext uri="{FF2B5EF4-FFF2-40B4-BE49-F238E27FC236}">
                        <a16:creationId xmlns:a16="http://schemas.microsoft.com/office/drawing/2014/main" id="{CA114C2F-1C32-4C4E-AC22-91E9B66A6B72}"/>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75" name="グループ化 74">
              <a:extLst>
                <a:ext uri="{FF2B5EF4-FFF2-40B4-BE49-F238E27FC236}">
                  <a16:creationId xmlns:a16="http://schemas.microsoft.com/office/drawing/2014/main" id="{DAD44BEF-388C-A4A1-C133-AA840E66B884}"/>
                </a:ext>
              </a:extLst>
            </p:cNvPr>
            <p:cNvGrpSpPr/>
            <p:nvPr/>
          </p:nvGrpSpPr>
          <p:grpSpPr>
            <a:xfrm>
              <a:off x="8112675" y="1054216"/>
              <a:ext cx="3384000" cy="1831482"/>
              <a:chOff x="8112675" y="1054216"/>
              <a:chExt cx="3384000" cy="1831482"/>
            </a:xfrm>
          </p:grpSpPr>
          <p:sp>
            <p:nvSpPr>
              <p:cNvPr id="76" name="正方形/長方形 75">
                <a:extLst>
                  <a:ext uri="{FF2B5EF4-FFF2-40B4-BE49-F238E27FC236}">
                    <a16:creationId xmlns:a16="http://schemas.microsoft.com/office/drawing/2014/main" id="{37B41BB6-DB98-C943-6928-EEA4CB4D620C}"/>
                  </a:ext>
                </a:extLst>
              </p:cNvPr>
              <p:cNvSpPr/>
              <p:nvPr/>
            </p:nvSpPr>
            <p:spPr>
              <a:xfrm>
                <a:off x="8296379" y="1054216"/>
                <a:ext cx="3016592"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海洋事業</a:t>
                </a:r>
              </a:p>
            </p:txBody>
          </p:sp>
          <p:grpSp>
            <p:nvGrpSpPr>
              <p:cNvPr id="77" name="グループ化 76">
                <a:extLst>
                  <a:ext uri="{FF2B5EF4-FFF2-40B4-BE49-F238E27FC236}">
                    <a16:creationId xmlns:a16="http://schemas.microsoft.com/office/drawing/2014/main" id="{E9E3E96F-97C4-EEE5-090E-5CA676932903}"/>
                  </a:ext>
                </a:extLst>
              </p:cNvPr>
              <p:cNvGrpSpPr/>
              <p:nvPr/>
            </p:nvGrpSpPr>
            <p:grpSpPr>
              <a:xfrm>
                <a:off x="8112675" y="1553698"/>
                <a:ext cx="3384000" cy="1332000"/>
                <a:chOff x="8112675" y="1553698"/>
                <a:chExt cx="3384000" cy="1332000"/>
              </a:xfrm>
            </p:grpSpPr>
            <p:pic>
              <p:nvPicPr>
                <p:cNvPr id="78" name="図 77" descr="水に浮かんでいる船&#10;&#10;自動的に生成された説明">
                  <a:extLst>
                    <a:ext uri="{FF2B5EF4-FFF2-40B4-BE49-F238E27FC236}">
                      <a16:creationId xmlns:a16="http://schemas.microsoft.com/office/drawing/2014/main" id="{C34425B8-2E46-BA72-15B5-76FD6CCA39DD}"/>
                    </a:ext>
                  </a:extLst>
                </p:cNvPr>
                <p:cNvPicPr preferRelativeResize="0">
                  <a:picLocks/>
                </p:cNvPicPr>
                <p:nvPr/>
              </p:nvPicPr>
              <p:blipFill rotWithShape="1">
                <a:blip r:embed="rId5" cstate="screen">
                  <a:extLst>
                    <a:ext uri="{28A0092B-C50C-407E-A947-70E740481C1C}">
                      <a14:useLocalDpi xmlns:a14="http://schemas.microsoft.com/office/drawing/2010/main"/>
                    </a:ext>
                  </a:extLst>
                </a:blip>
                <a:srcRect/>
                <a:stretch/>
              </p:blipFill>
              <p:spPr>
                <a:xfrm>
                  <a:off x="8112675" y="1553698"/>
                  <a:ext cx="3384000" cy="1332000"/>
                </a:xfrm>
                <a:prstGeom prst="rect">
                  <a:avLst/>
                </a:prstGeom>
              </p:spPr>
            </p:pic>
            <p:grpSp>
              <p:nvGrpSpPr>
                <p:cNvPr id="79" name="グループ化 78">
                  <a:extLst>
                    <a:ext uri="{FF2B5EF4-FFF2-40B4-BE49-F238E27FC236}">
                      <a16:creationId xmlns:a16="http://schemas.microsoft.com/office/drawing/2014/main" id="{20AFF8D6-2217-11B3-FDE1-19842F04707B}"/>
                    </a:ext>
                  </a:extLst>
                </p:cNvPr>
                <p:cNvGrpSpPr/>
                <p:nvPr/>
              </p:nvGrpSpPr>
              <p:grpSpPr>
                <a:xfrm>
                  <a:off x="8112675" y="1553698"/>
                  <a:ext cx="3384000" cy="1332000"/>
                  <a:chOff x="713514" y="1553698"/>
                  <a:chExt cx="3384000" cy="1332000"/>
                </a:xfrm>
              </p:grpSpPr>
              <p:sp>
                <p:nvSpPr>
                  <p:cNvPr id="80" name="直角三角形 79">
                    <a:extLst>
                      <a:ext uri="{FF2B5EF4-FFF2-40B4-BE49-F238E27FC236}">
                        <a16:creationId xmlns:a16="http://schemas.microsoft.com/office/drawing/2014/main" id="{B20B8743-7317-6EC5-824E-1DC409F76A26}"/>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直角三角形 80">
                    <a:extLst>
                      <a:ext uri="{FF2B5EF4-FFF2-40B4-BE49-F238E27FC236}">
                        <a16:creationId xmlns:a16="http://schemas.microsoft.com/office/drawing/2014/main" id="{75DAD32F-83D9-3B79-5901-08FB0D71C7E6}"/>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grpSp>
        <p:nvGrpSpPr>
          <p:cNvPr id="94" name="グループ化 93">
            <a:extLst>
              <a:ext uri="{FF2B5EF4-FFF2-40B4-BE49-F238E27FC236}">
                <a16:creationId xmlns:a16="http://schemas.microsoft.com/office/drawing/2014/main" id="{CAB2AE34-FD22-BE92-62B2-7558BEA9DAC2}"/>
              </a:ext>
            </a:extLst>
          </p:cNvPr>
          <p:cNvGrpSpPr/>
          <p:nvPr/>
        </p:nvGrpSpPr>
        <p:grpSpPr>
          <a:xfrm>
            <a:off x="823243" y="2800467"/>
            <a:ext cx="10759158" cy="1699359"/>
            <a:chOff x="713514" y="2887617"/>
            <a:chExt cx="10783161" cy="1828321"/>
          </a:xfrm>
        </p:grpSpPr>
        <p:grpSp>
          <p:nvGrpSpPr>
            <p:cNvPr id="95" name="グループ化 94">
              <a:extLst>
                <a:ext uri="{FF2B5EF4-FFF2-40B4-BE49-F238E27FC236}">
                  <a16:creationId xmlns:a16="http://schemas.microsoft.com/office/drawing/2014/main" id="{C353F269-17E6-3E2D-E1EA-699EAB44998A}"/>
                </a:ext>
              </a:extLst>
            </p:cNvPr>
            <p:cNvGrpSpPr/>
            <p:nvPr/>
          </p:nvGrpSpPr>
          <p:grpSpPr>
            <a:xfrm>
              <a:off x="713514" y="2887617"/>
              <a:ext cx="3384000" cy="1828321"/>
              <a:chOff x="713514" y="2887617"/>
              <a:chExt cx="3384000" cy="1828321"/>
            </a:xfrm>
          </p:grpSpPr>
          <p:sp>
            <p:nvSpPr>
              <p:cNvPr id="110" name="正方形/長方形 109">
                <a:extLst>
                  <a:ext uri="{FF2B5EF4-FFF2-40B4-BE49-F238E27FC236}">
                    <a16:creationId xmlns:a16="http://schemas.microsoft.com/office/drawing/2014/main" id="{D84A50C9-7974-85C8-B597-3F1013F1FC9D}"/>
                  </a:ext>
                </a:extLst>
              </p:cNvPr>
              <p:cNvSpPr/>
              <p:nvPr/>
            </p:nvSpPr>
            <p:spPr>
              <a:xfrm>
                <a:off x="1318259" y="2887617"/>
                <a:ext cx="217451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en-US" altLang="ja-JP" dirty="0">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LNG</a:t>
                </a:r>
                <a:r>
                  <a:rPr lang="ja-JP" altLang="en-US" dirty="0">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船事業</a:t>
                </a:r>
              </a:p>
            </p:txBody>
          </p:sp>
          <p:grpSp>
            <p:nvGrpSpPr>
              <p:cNvPr id="111" name="グループ化 110">
                <a:extLst>
                  <a:ext uri="{FF2B5EF4-FFF2-40B4-BE49-F238E27FC236}">
                    <a16:creationId xmlns:a16="http://schemas.microsoft.com/office/drawing/2014/main" id="{07488E63-7AFA-66FE-12E6-4F64C37056EB}"/>
                  </a:ext>
                </a:extLst>
              </p:cNvPr>
              <p:cNvGrpSpPr/>
              <p:nvPr/>
            </p:nvGrpSpPr>
            <p:grpSpPr>
              <a:xfrm>
                <a:off x="713514" y="3383938"/>
                <a:ext cx="3384000" cy="1332000"/>
                <a:chOff x="713514" y="3383938"/>
                <a:chExt cx="3384000" cy="1332000"/>
              </a:xfrm>
            </p:grpSpPr>
            <p:pic>
              <p:nvPicPr>
                <p:cNvPr id="112" name="図 111" descr="海に浮かんでいる船&#10;&#10;自動的に生成された説明">
                  <a:extLst>
                    <a:ext uri="{FF2B5EF4-FFF2-40B4-BE49-F238E27FC236}">
                      <a16:creationId xmlns:a16="http://schemas.microsoft.com/office/drawing/2014/main" id="{CA46EABF-7D44-E38B-2BF2-73F98F5375BF}"/>
                    </a:ext>
                  </a:extLst>
                </p:cNvPr>
                <p:cNvPicPr preferRelativeResize="0">
                  <a:picLocks/>
                </p:cNvPicPr>
                <p:nvPr/>
              </p:nvPicPr>
              <p:blipFill rotWithShape="1">
                <a:blip r:embed="rId6" cstate="screen">
                  <a:extLst>
                    <a:ext uri="{28A0092B-C50C-407E-A947-70E740481C1C}">
                      <a14:useLocalDpi xmlns:a14="http://schemas.microsoft.com/office/drawing/2010/main"/>
                    </a:ext>
                  </a:extLst>
                </a:blip>
                <a:srcRect/>
                <a:stretch/>
              </p:blipFill>
              <p:spPr>
                <a:xfrm>
                  <a:off x="713514" y="3383938"/>
                  <a:ext cx="3384000" cy="1332000"/>
                </a:xfrm>
                <a:prstGeom prst="rect">
                  <a:avLst/>
                </a:prstGeom>
              </p:spPr>
            </p:pic>
            <p:grpSp>
              <p:nvGrpSpPr>
                <p:cNvPr id="113" name="グループ化 112">
                  <a:extLst>
                    <a:ext uri="{FF2B5EF4-FFF2-40B4-BE49-F238E27FC236}">
                      <a16:creationId xmlns:a16="http://schemas.microsoft.com/office/drawing/2014/main" id="{4131564D-D30D-95B4-CF6A-DEB0240A5312}"/>
                    </a:ext>
                  </a:extLst>
                </p:cNvPr>
                <p:cNvGrpSpPr/>
                <p:nvPr/>
              </p:nvGrpSpPr>
              <p:grpSpPr>
                <a:xfrm>
                  <a:off x="713514" y="3383938"/>
                  <a:ext cx="3384000" cy="1332000"/>
                  <a:chOff x="713514" y="1553698"/>
                  <a:chExt cx="3384000" cy="1332000"/>
                </a:xfrm>
              </p:grpSpPr>
              <p:sp>
                <p:nvSpPr>
                  <p:cNvPr id="114" name="直角三角形 113">
                    <a:extLst>
                      <a:ext uri="{FF2B5EF4-FFF2-40B4-BE49-F238E27FC236}">
                        <a16:creationId xmlns:a16="http://schemas.microsoft.com/office/drawing/2014/main" id="{33BEEDA3-202D-4EE4-FBFE-EA7FB50197AA}"/>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5" name="直角三角形 114">
                    <a:extLst>
                      <a:ext uri="{FF2B5EF4-FFF2-40B4-BE49-F238E27FC236}">
                        <a16:creationId xmlns:a16="http://schemas.microsoft.com/office/drawing/2014/main" id="{2C47EEC6-6D0F-B514-B580-00E8DFAA65B0}"/>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96" name="グループ化 95">
              <a:extLst>
                <a:ext uri="{FF2B5EF4-FFF2-40B4-BE49-F238E27FC236}">
                  <a16:creationId xmlns:a16="http://schemas.microsoft.com/office/drawing/2014/main" id="{30717D7B-F7D1-DA94-8D25-7FFA6C89ADEE}"/>
                </a:ext>
              </a:extLst>
            </p:cNvPr>
            <p:cNvGrpSpPr/>
            <p:nvPr/>
          </p:nvGrpSpPr>
          <p:grpSpPr>
            <a:xfrm>
              <a:off x="4413095" y="2887617"/>
              <a:ext cx="3384000" cy="1828321"/>
              <a:chOff x="4413095" y="2887617"/>
              <a:chExt cx="3384000" cy="1828321"/>
            </a:xfrm>
          </p:grpSpPr>
          <p:sp>
            <p:nvSpPr>
              <p:cNvPr id="104" name="正方形/長方形 103">
                <a:extLst>
                  <a:ext uri="{FF2B5EF4-FFF2-40B4-BE49-F238E27FC236}">
                    <a16:creationId xmlns:a16="http://schemas.microsoft.com/office/drawing/2014/main" id="{4B0DAA99-D6E4-23D0-3BE8-2377673F1C03}"/>
                  </a:ext>
                </a:extLst>
              </p:cNvPr>
              <p:cNvSpPr/>
              <p:nvPr/>
            </p:nvSpPr>
            <p:spPr>
              <a:xfrm>
                <a:off x="5017840" y="2887617"/>
                <a:ext cx="217451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自動車船事業</a:t>
                </a:r>
              </a:p>
            </p:txBody>
          </p:sp>
          <p:grpSp>
            <p:nvGrpSpPr>
              <p:cNvPr id="105" name="グループ化 104">
                <a:extLst>
                  <a:ext uri="{FF2B5EF4-FFF2-40B4-BE49-F238E27FC236}">
                    <a16:creationId xmlns:a16="http://schemas.microsoft.com/office/drawing/2014/main" id="{18E58CE0-DC56-A7A7-BEB7-41D7A21629DF}"/>
                  </a:ext>
                </a:extLst>
              </p:cNvPr>
              <p:cNvGrpSpPr/>
              <p:nvPr/>
            </p:nvGrpSpPr>
            <p:grpSpPr>
              <a:xfrm>
                <a:off x="4413095" y="3383938"/>
                <a:ext cx="3384000" cy="1332000"/>
                <a:chOff x="4413095" y="3383938"/>
                <a:chExt cx="3384000" cy="1332000"/>
              </a:xfrm>
            </p:grpSpPr>
            <p:pic>
              <p:nvPicPr>
                <p:cNvPr id="106" name="Picture 12">
                  <a:extLst>
                    <a:ext uri="{FF2B5EF4-FFF2-40B4-BE49-F238E27FC236}">
                      <a16:creationId xmlns:a16="http://schemas.microsoft.com/office/drawing/2014/main" id="{C99E49E1-2E58-59C7-0500-E412851704A0}"/>
                    </a:ext>
                  </a:extLst>
                </p:cNvPr>
                <p:cNvPicPr preferRelativeResize="0">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413095" y="3383938"/>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107" name="グループ化 106">
                  <a:extLst>
                    <a:ext uri="{FF2B5EF4-FFF2-40B4-BE49-F238E27FC236}">
                      <a16:creationId xmlns:a16="http://schemas.microsoft.com/office/drawing/2014/main" id="{51B0D094-DAA3-70DE-2E08-1F5FFA4F0642}"/>
                    </a:ext>
                  </a:extLst>
                </p:cNvPr>
                <p:cNvGrpSpPr/>
                <p:nvPr/>
              </p:nvGrpSpPr>
              <p:grpSpPr>
                <a:xfrm>
                  <a:off x="4413095" y="3383938"/>
                  <a:ext cx="3384000" cy="1332000"/>
                  <a:chOff x="713514" y="1553698"/>
                  <a:chExt cx="3384000" cy="1332000"/>
                </a:xfrm>
              </p:grpSpPr>
              <p:sp>
                <p:nvSpPr>
                  <p:cNvPr id="108" name="直角三角形 107">
                    <a:extLst>
                      <a:ext uri="{FF2B5EF4-FFF2-40B4-BE49-F238E27FC236}">
                        <a16:creationId xmlns:a16="http://schemas.microsoft.com/office/drawing/2014/main" id="{22991430-930C-8844-07A6-B87150238FDD}"/>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9" name="直角三角形 108">
                    <a:extLst>
                      <a:ext uri="{FF2B5EF4-FFF2-40B4-BE49-F238E27FC236}">
                        <a16:creationId xmlns:a16="http://schemas.microsoft.com/office/drawing/2014/main" id="{6E03A4D1-05B9-BBEE-54C5-A467A3E777AA}"/>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97" name="グループ化 96">
              <a:extLst>
                <a:ext uri="{FF2B5EF4-FFF2-40B4-BE49-F238E27FC236}">
                  <a16:creationId xmlns:a16="http://schemas.microsoft.com/office/drawing/2014/main" id="{F8F093B6-94C9-D16D-54F0-021ECA5B75BE}"/>
                </a:ext>
              </a:extLst>
            </p:cNvPr>
            <p:cNvGrpSpPr/>
            <p:nvPr/>
          </p:nvGrpSpPr>
          <p:grpSpPr>
            <a:xfrm>
              <a:off x="8112675" y="2887617"/>
              <a:ext cx="3384000" cy="1828321"/>
              <a:chOff x="8112675" y="2887617"/>
              <a:chExt cx="3384000" cy="1828321"/>
            </a:xfrm>
          </p:grpSpPr>
          <p:sp>
            <p:nvSpPr>
              <p:cNvPr id="98" name="正方形/長方形 97">
                <a:extLst>
                  <a:ext uri="{FF2B5EF4-FFF2-40B4-BE49-F238E27FC236}">
                    <a16:creationId xmlns:a16="http://schemas.microsoft.com/office/drawing/2014/main" id="{459AF787-C44F-51EE-0791-7E1E27B9C80B}"/>
                  </a:ext>
                </a:extLst>
              </p:cNvPr>
              <p:cNvSpPr/>
              <p:nvPr/>
            </p:nvSpPr>
            <p:spPr>
              <a:xfrm>
                <a:off x="8493687" y="2887617"/>
                <a:ext cx="2621976"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風力エネルギー関連事業</a:t>
                </a:r>
              </a:p>
            </p:txBody>
          </p:sp>
          <p:grpSp>
            <p:nvGrpSpPr>
              <p:cNvPr id="99" name="グループ化 98">
                <a:extLst>
                  <a:ext uri="{FF2B5EF4-FFF2-40B4-BE49-F238E27FC236}">
                    <a16:creationId xmlns:a16="http://schemas.microsoft.com/office/drawing/2014/main" id="{057AAF33-3DEA-25CB-7C99-B77741858578}"/>
                  </a:ext>
                </a:extLst>
              </p:cNvPr>
              <p:cNvGrpSpPr/>
              <p:nvPr/>
            </p:nvGrpSpPr>
            <p:grpSpPr>
              <a:xfrm>
                <a:off x="8112675" y="3383938"/>
                <a:ext cx="3384000" cy="1332000"/>
                <a:chOff x="8112675" y="3383938"/>
                <a:chExt cx="3384000" cy="1332000"/>
              </a:xfrm>
            </p:grpSpPr>
            <p:pic>
              <p:nvPicPr>
                <p:cNvPr id="100" name="Picture 2">
                  <a:extLst>
                    <a:ext uri="{FF2B5EF4-FFF2-40B4-BE49-F238E27FC236}">
                      <a16:creationId xmlns:a16="http://schemas.microsoft.com/office/drawing/2014/main" id="{2A6382BB-14A5-FE9B-27C0-CC132B084224}"/>
                    </a:ext>
                  </a:extLst>
                </p:cNvPr>
                <p:cNvPicPr preferRelativeResize="0">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12675" y="3383938"/>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101" name="グループ化 100">
                  <a:extLst>
                    <a:ext uri="{FF2B5EF4-FFF2-40B4-BE49-F238E27FC236}">
                      <a16:creationId xmlns:a16="http://schemas.microsoft.com/office/drawing/2014/main" id="{97B99538-0148-5948-1201-7674EE7882F1}"/>
                    </a:ext>
                  </a:extLst>
                </p:cNvPr>
                <p:cNvGrpSpPr/>
                <p:nvPr/>
              </p:nvGrpSpPr>
              <p:grpSpPr>
                <a:xfrm>
                  <a:off x="8112675" y="3383938"/>
                  <a:ext cx="3384000" cy="1332000"/>
                  <a:chOff x="713514" y="1553698"/>
                  <a:chExt cx="3384000" cy="1332000"/>
                </a:xfrm>
              </p:grpSpPr>
              <p:sp>
                <p:nvSpPr>
                  <p:cNvPr id="102" name="直角三角形 101">
                    <a:extLst>
                      <a:ext uri="{FF2B5EF4-FFF2-40B4-BE49-F238E27FC236}">
                        <a16:creationId xmlns:a16="http://schemas.microsoft.com/office/drawing/2014/main" id="{D5C8C014-1D13-F4BB-DC6C-80BC6F7CC7CE}"/>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 name="直角三角形 102">
                    <a:extLst>
                      <a:ext uri="{FF2B5EF4-FFF2-40B4-BE49-F238E27FC236}">
                        <a16:creationId xmlns:a16="http://schemas.microsoft.com/office/drawing/2014/main" id="{FEDF6C1B-9E5F-EE78-0675-A11870C266DA}"/>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grpSp>
        <p:nvGrpSpPr>
          <p:cNvPr id="116" name="グループ化 115">
            <a:extLst>
              <a:ext uri="{FF2B5EF4-FFF2-40B4-BE49-F238E27FC236}">
                <a16:creationId xmlns:a16="http://schemas.microsoft.com/office/drawing/2014/main" id="{B2C0AE4C-415F-B52D-E6EC-5C495C9B6F4A}"/>
              </a:ext>
            </a:extLst>
          </p:cNvPr>
          <p:cNvGrpSpPr/>
          <p:nvPr/>
        </p:nvGrpSpPr>
        <p:grpSpPr>
          <a:xfrm>
            <a:off x="823243" y="4618401"/>
            <a:ext cx="10759158" cy="1684863"/>
            <a:chOff x="713514" y="4736685"/>
            <a:chExt cx="10783161" cy="1812725"/>
          </a:xfrm>
        </p:grpSpPr>
        <p:grpSp>
          <p:nvGrpSpPr>
            <p:cNvPr id="117" name="グループ化 116">
              <a:extLst>
                <a:ext uri="{FF2B5EF4-FFF2-40B4-BE49-F238E27FC236}">
                  <a16:creationId xmlns:a16="http://schemas.microsoft.com/office/drawing/2014/main" id="{0782D445-0AF3-6432-864C-27185102C7CC}"/>
                </a:ext>
              </a:extLst>
            </p:cNvPr>
            <p:cNvGrpSpPr/>
            <p:nvPr/>
          </p:nvGrpSpPr>
          <p:grpSpPr>
            <a:xfrm>
              <a:off x="713514" y="4736685"/>
              <a:ext cx="3384000" cy="1812725"/>
              <a:chOff x="713514" y="4736685"/>
              <a:chExt cx="3384000" cy="1812725"/>
            </a:xfrm>
          </p:grpSpPr>
          <p:sp>
            <p:nvSpPr>
              <p:cNvPr id="132" name="正方形/長方形 131">
                <a:extLst>
                  <a:ext uri="{FF2B5EF4-FFF2-40B4-BE49-F238E27FC236}">
                    <a16:creationId xmlns:a16="http://schemas.microsoft.com/office/drawing/2014/main" id="{181A8222-76D1-F206-11E5-4280F702CAE4}"/>
                  </a:ext>
                </a:extLst>
              </p:cNvPr>
              <p:cNvSpPr/>
              <p:nvPr/>
            </p:nvSpPr>
            <p:spPr>
              <a:xfrm>
                <a:off x="1035664" y="4736685"/>
                <a:ext cx="273970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港湾ロジスティクス事業</a:t>
                </a:r>
              </a:p>
            </p:txBody>
          </p:sp>
          <p:grpSp>
            <p:nvGrpSpPr>
              <p:cNvPr id="133" name="グループ化 132">
                <a:extLst>
                  <a:ext uri="{FF2B5EF4-FFF2-40B4-BE49-F238E27FC236}">
                    <a16:creationId xmlns:a16="http://schemas.microsoft.com/office/drawing/2014/main" id="{90EC12B4-41A1-FCAA-A9EE-95510C73AFEA}"/>
                  </a:ext>
                </a:extLst>
              </p:cNvPr>
              <p:cNvGrpSpPr/>
              <p:nvPr/>
            </p:nvGrpSpPr>
            <p:grpSpPr>
              <a:xfrm>
                <a:off x="713514" y="5217410"/>
                <a:ext cx="3384000" cy="1332000"/>
                <a:chOff x="713514" y="5217410"/>
                <a:chExt cx="3384000" cy="1332000"/>
              </a:xfrm>
            </p:grpSpPr>
            <p:pic>
              <p:nvPicPr>
                <p:cNvPr id="134" name="Picture 18">
                  <a:extLst>
                    <a:ext uri="{FF2B5EF4-FFF2-40B4-BE49-F238E27FC236}">
                      <a16:creationId xmlns:a16="http://schemas.microsoft.com/office/drawing/2014/main" id="{3676677F-FA3E-64DD-E236-FECA84CF532B}"/>
                    </a:ext>
                  </a:extLst>
                </p:cNvPr>
                <p:cNvPicPr preferRelativeResize="0">
                  <a:picLocks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13514" y="5217410"/>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135" name="グループ化 134">
                  <a:extLst>
                    <a:ext uri="{FF2B5EF4-FFF2-40B4-BE49-F238E27FC236}">
                      <a16:creationId xmlns:a16="http://schemas.microsoft.com/office/drawing/2014/main" id="{C6CBB555-92A5-8751-ED68-8982331C51DC}"/>
                    </a:ext>
                  </a:extLst>
                </p:cNvPr>
                <p:cNvGrpSpPr/>
                <p:nvPr/>
              </p:nvGrpSpPr>
              <p:grpSpPr>
                <a:xfrm>
                  <a:off x="713514" y="5217410"/>
                  <a:ext cx="3384000" cy="1332000"/>
                  <a:chOff x="713514" y="1553698"/>
                  <a:chExt cx="3384000" cy="1332000"/>
                </a:xfrm>
              </p:grpSpPr>
              <p:sp>
                <p:nvSpPr>
                  <p:cNvPr id="136" name="直角三角形 135">
                    <a:extLst>
                      <a:ext uri="{FF2B5EF4-FFF2-40B4-BE49-F238E27FC236}">
                        <a16:creationId xmlns:a16="http://schemas.microsoft.com/office/drawing/2014/main" id="{5A18C3B9-E60A-05E7-EEB1-47AF183D6D66}"/>
                      </a:ext>
                    </a:extLst>
                  </p:cNvPr>
                  <p:cNvSpPr/>
                  <p:nvPr/>
                </p:nvSpPr>
                <p:spPr>
                  <a:xfrm rot="5400000">
                    <a:off x="1301296" y="965916"/>
                    <a:ext cx="587344" cy="1762908"/>
                  </a:xfrm>
                  <a:prstGeom prst="r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直角三角形 136">
                    <a:extLst>
                      <a:ext uri="{FF2B5EF4-FFF2-40B4-BE49-F238E27FC236}">
                        <a16:creationId xmlns:a16="http://schemas.microsoft.com/office/drawing/2014/main" id="{89F5144F-5E24-4069-532E-FFBFB0B26AF4}"/>
                      </a:ext>
                    </a:extLst>
                  </p:cNvPr>
                  <p:cNvSpPr/>
                  <p:nvPr/>
                </p:nvSpPr>
                <p:spPr>
                  <a:xfrm rot="5400000" flipH="1" flipV="1">
                    <a:off x="2922388" y="1710572"/>
                    <a:ext cx="587344" cy="1762908"/>
                  </a:xfrm>
                  <a:prstGeom prst="rtTriangle">
                    <a:avLst/>
                  </a:prstGeom>
                  <a:solidFill>
                    <a:schemeClr val="bg1">
                      <a:alpha val="4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118" name="グループ化 117">
              <a:extLst>
                <a:ext uri="{FF2B5EF4-FFF2-40B4-BE49-F238E27FC236}">
                  <a16:creationId xmlns:a16="http://schemas.microsoft.com/office/drawing/2014/main" id="{65333EE4-205E-8642-83A7-1E4244231D38}"/>
                </a:ext>
              </a:extLst>
            </p:cNvPr>
            <p:cNvGrpSpPr/>
            <p:nvPr/>
          </p:nvGrpSpPr>
          <p:grpSpPr>
            <a:xfrm>
              <a:off x="4413095" y="4736685"/>
              <a:ext cx="3384000" cy="1812725"/>
              <a:chOff x="4413095" y="4736685"/>
              <a:chExt cx="3384000" cy="1812725"/>
            </a:xfrm>
          </p:grpSpPr>
          <p:sp>
            <p:nvSpPr>
              <p:cNvPr id="126" name="正方形/長方形 125">
                <a:extLst>
                  <a:ext uri="{FF2B5EF4-FFF2-40B4-BE49-F238E27FC236}">
                    <a16:creationId xmlns:a16="http://schemas.microsoft.com/office/drawing/2014/main" id="{00FD7498-F043-CF1D-C817-FF6D791CB91E}"/>
                  </a:ext>
                </a:extLst>
              </p:cNvPr>
              <p:cNvSpPr/>
              <p:nvPr/>
            </p:nvSpPr>
            <p:spPr>
              <a:xfrm>
                <a:off x="5017840" y="4736685"/>
                <a:ext cx="217451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コンテナ船事業</a:t>
                </a:r>
              </a:p>
            </p:txBody>
          </p:sp>
          <p:grpSp>
            <p:nvGrpSpPr>
              <p:cNvPr id="127" name="グループ化 126">
                <a:extLst>
                  <a:ext uri="{FF2B5EF4-FFF2-40B4-BE49-F238E27FC236}">
                    <a16:creationId xmlns:a16="http://schemas.microsoft.com/office/drawing/2014/main" id="{C1C2B846-E418-B98D-8D62-750413F5A095}"/>
                  </a:ext>
                </a:extLst>
              </p:cNvPr>
              <p:cNvGrpSpPr/>
              <p:nvPr/>
            </p:nvGrpSpPr>
            <p:grpSpPr>
              <a:xfrm>
                <a:off x="4413095" y="5217410"/>
                <a:ext cx="3384000" cy="1332000"/>
                <a:chOff x="4413095" y="5217410"/>
                <a:chExt cx="3384000" cy="1332000"/>
              </a:xfrm>
            </p:grpSpPr>
            <p:pic>
              <p:nvPicPr>
                <p:cNvPr id="128" name="Picture 16">
                  <a:extLst>
                    <a:ext uri="{FF2B5EF4-FFF2-40B4-BE49-F238E27FC236}">
                      <a16:creationId xmlns:a16="http://schemas.microsoft.com/office/drawing/2014/main" id="{22E9CD04-A1CE-1068-8BAC-AAB7D38753CC}"/>
                    </a:ext>
                  </a:extLst>
                </p:cNvPr>
                <p:cNvPicPr preferRelativeResize="0">
                  <a:picLocks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413095" y="5217410"/>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129" name="グループ化 128">
                  <a:extLst>
                    <a:ext uri="{FF2B5EF4-FFF2-40B4-BE49-F238E27FC236}">
                      <a16:creationId xmlns:a16="http://schemas.microsoft.com/office/drawing/2014/main" id="{0B132379-F736-CC28-169D-6AA6CA6FF808}"/>
                    </a:ext>
                  </a:extLst>
                </p:cNvPr>
                <p:cNvGrpSpPr/>
                <p:nvPr/>
              </p:nvGrpSpPr>
              <p:grpSpPr>
                <a:xfrm>
                  <a:off x="4413095" y="5217410"/>
                  <a:ext cx="3384000" cy="1332000"/>
                  <a:chOff x="713514" y="1553698"/>
                  <a:chExt cx="3384000" cy="1332000"/>
                </a:xfrm>
              </p:grpSpPr>
              <p:sp>
                <p:nvSpPr>
                  <p:cNvPr id="130" name="直角三角形 129">
                    <a:extLst>
                      <a:ext uri="{FF2B5EF4-FFF2-40B4-BE49-F238E27FC236}">
                        <a16:creationId xmlns:a16="http://schemas.microsoft.com/office/drawing/2014/main" id="{48389ED1-A1B9-BAFA-0545-7C66893A6882}"/>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直角三角形 130">
                    <a:extLst>
                      <a:ext uri="{FF2B5EF4-FFF2-40B4-BE49-F238E27FC236}">
                        <a16:creationId xmlns:a16="http://schemas.microsoft.com/office/drawing/2014/main" id="{6BAD48E7-D754-61CB-2988-511B6F8E7E34}"/>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119" name="グループ化 118">
              <a:extLst>
                <a:ext uri="{FF2B5EF4-FFF2-40B4-BE49-F238E27FC236}">
                  <a16:creationId xmlns:a16="http://schemas.microsoft.com/office/drawing/2014/main" id="{6CC85CEC-CC52-3533-F7E8-E3869120B0D8}"/>
                </a:ext>
              </a:extLst>
            </p:cNvPr>
            <p:cNvGrpSpPr/>
            <p:nvPr/>
          </p:nvGrpSpPr>
          <p:grpSpPr>
            <a:xfrm>
              <a:off x="8112675" y="4736685"/>
              <a:ext cx="3384000" cy="1812725"/>
              <a:chOff x="8112675" y="4736685"/>
              <a:chExt cx="3384000" cy="1812725"/>
            </a:xfrm>
          </p:grpSpPr>
          <p:sp>
            <p:nvSpPr>
              <p:cNvPr id="120" name="正方形/長方形 119">
                <a:extLst>
                  <a:ext uri="{FF2B5EF4-FFF2-40B4-BE49-F238E27FC236}">
                    <a16:creationId xmlns:a16="http://schemas.microsoft.com/office/drawing/2014/main" id="{5F2FEC87-0B36-B95E-7323-76ED98A58C54}"/>
                  </a:ext>
                </a:extLst>
              </p:cNvPr>
              <p:cNvSpPr/>
              <p:nvPr/>
            </p:nvSpPr>
            <p:spPr>
              <a:xfrm>
                <a:off x="8717420" y="4736685"/>
                <a:ext cx="2174510" cy="587344"/>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bg1"/>
                    </a:solidFill>
                    <a:latin typeface="Noto Sans JP" panose="020B0200000000000000" pitchFamily="50" charset="-128"/>
                    <a:ea typeface="Noto Sans JP" panose="020B0200000000000000" pitchFamily="50" charset="-128"/>
                    <a:cs typeface="Microsoft Sans Serif" panose="020B0604020202020204" pitchFamily="34" charset="0"/>
                  </a:rPr>
                  <a:t>客船事業</a:t>
                </a:r>
              </a:p>
            </p:txBody>
          </p:sp>
          <p:grpSp>
            <p:nvGrpSpPr>
              <p:cNvPr id="121" name="グループ化 120">
                <a:extLst>
                  <a:ext uri="{FF2B5EF4-FFF2-40B4-BE49-F238E27FC236}">
                    <a16:creationId xmlns:a16="http://schemas.microsoft.com/office/drawing/2014/main" id="{96A37368-8DC5-8F90-9880-05BCC3611FC3}"/>
                  </a:ext>
                </a:extLst>
              </p:cNvPr>
              <p:cNvGrpSpPr/>
              <p:nvPr/>
            </p:nvGrpSpPr>
            <p:grpSpPr>
              <a:xfrm>
                <a:off x="8112675" y="5217410"/>
                <a:ext cx="3384000" cy="1332000"/>
                <a:chOff x="8112675" y="5217410"/>
                <a:chExt cx="3384000" cy="1332000"/>
              </a:xfrm>
            </p:grpSpPr>
            <p:pic>
              <p:nvPicPr>
                <p:cNvPr id="122" name="Picture 20">
                  <a:extLst>
                    <a:ext uri="{FF2B5EF4-FFF2-40B4-BE49-F238E27FC236}">
                      <a16:creationId xmlns:a16="http://schemas.microsoft.com/office/drawing/2014/main" id="{DA1D9959-3258-DC79-AB3F-F6C54B597B0A}"/>
                    </a:ext>
                  </a:extLst>
                </p:cNvPr>
                <p:cNvPicPr preferRelativeResize="0">
                  <a:picLocks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8112675" y="5217410"/>
                  <a:ext cx="3384000" cy="1332000"/>
                </a:xfrm>
                <a:prstGeom prst="rect">
                  <a:avLst/>
                </a:prstGeom>
                <a:noFill/>
                <a:extLst>
                  <a:ext uri="{909E8E84-426E-40DD-AFC4-6F175D3DCCD1}">
                    <a14:hiddenFill xmlns:a14="http://schemas.microsoft.com/office/drawing/2010/main">
                      <a:solidFill>
                        <a:srgbClr val="FFFFFF"/>
                      </a:solidFill>
                    </a14:hiddenFill>
                  </a:ext>
                </a:extLst>
              </p:spPr>
            </p:pic>
            <p:grpSp>
              <p:nvGrpSpPr>
                <p:cNvPr id="123" name="グループ化 122">
                  <a:extLst>
                    <a:ext uri="{FF2B5EF4-FFF2-40B4-BE49-F238E27FC236}">
                      <a16:creationId xmlns:a16="http://schemas.microsoft.com/office/drawing/2014/main" id="{29202823-B43D-9AAA-9E8F-31BF3815C9A4}"/>
                    </a:ext>
                  </a:extLst>
                </p:cNvPr>
                <p:cNvGrpSpPr/>
                <p:nvPr/>
              </p:nvGrpSpPr>
              <p:grpSpPr>
                <a:xfrm>
                  <a:off x="8112675" y="5217410"/>
                  <a:ext cx="3384000" cy="1332000"/>
                  <a:chOff x="713514" y="1553698"/>
                  <a:chExt cx="3384000" cy="1332000"/>
                </a:xfrm>
              </p:grpSpPr>
              <p:sp>
                <p:nvSpPr>
                  <p:cNvPr id="124" name="直角三角形 123">
                    <a:extLst>
                      <a:ext uri="{FF2B5EF4-FFF2-40B4-BE49-F238E27FC236}">
                        <a16:creationId xmlns:a16="http://schemas.microsoft.com/office/drawing/2014/main" id="{4E6D0A7D-8F86-7D16-4844-A748B2D408D1}"/>
                      </a:ext>
                    </a:extLst>
                  </p:cNvPr>
                  <p:cNvSpPr/>
                  <p:nvPr/>
                </p:nvSpPr>
                <p:spPr>
                  <a:xfrm rot="5400000">
                    <a:off x="1301296" y="965916"/>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直角三角形 124">
                    <a:extLst>
                      <a:ext uri="{FF2B5EF4-FFF2-40B4-BE49-F238E27FC236}">
                        <a16:creationId xmlns:a16="http://schemas.microsoft.com/office/drawing/2014/main" id="{23F9EFE1-A3D7-42CC-90F1-07E37FE30C9F}"/>
                      </a:ext>
                    </a:extLst>
                  </p:cNvPr>
                  <p:cNvSpPr/>
                  <p:nvPr/>
                </p:nvSpPr>
                <p:spPr>
                  <a:xfrm rot="5400000" flipH="1" flipV="1">
                    <a:off x="2922388" y="1710572"/>
                    <a:ext cx="587344" cy="1762908"/>
                  </a:xfrm>
                  <a:prstGeom prst="rtTriangl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sp>
        <p:nvSpPr>
          <p:cNvPr id="204" name="正方形/長方形 203">
            <a:extLst>
              <a:ext uri="{FF2B5EF4-FFF2-40B4-BE49-F238E27FC236}">
                <a16:creationId xmlns:a16="http://schemas.microsoft.com/office/drawing/2014/main" id="{6C21A920-0123-2840-8C78-F4636D8DB1E9}"/>
              </a:ext>
            </a:extLst>
          </p:cNvPr>
          <p:cNvSpPr/>
          <p:nvPr/>
        </p:nvSpPr>
        <p:spPr>
          <a:xfrm>
            <a:off x="1446275" y="887932"/>
            <a:ext cx="216967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ドライバルク船事業</a:t>
            </a:r>
          </a:p>
        </p:txBody>
      </p:sp>
      <p:sp>
        <p:nvSpPr>
          <p:cNvPr id="205" name="正方形/長方形 204">
            <a:extLst>
              <a:ext uri="{FF2B5EF4-FFF2-40B4-BE49-F238E27FC236}">
                <a16:creationId xmlns:a16="http://schemas.microsoft.com/office/drawing/2014/main" id="{867A1E95-906B-E7D8-E407-FCF4BC2BE185}"/>
              </a:ext>
            </a:extLst>
          </p:cNvPr>
          <p:cNvSpPr/>
          <p:nvPr/>
        </p:nvSpPr>
        <p:spPr>
          <a:xfrm>
            <a:off x="5145856" y="887932"/>
            <a:ext cx="216967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タンカー事業</a:t>
            </a:r>
          </a:p>
        </p:txBody>
      </p:sp>
      <p:sp>
        <p:nvSpPr>
          <p:cNvPr id="206" name="正方形/長方形 205">
            <a:extLst>
              <a:ext uri="{FF2B5EF4-FFF2-40B4-BE49-F238E27FC236}">
                <a16:creationId xmlns:a16="http://schemas.microsoft.com/office/drawing/2014/main" id="{1E9F3329-BEDA-CCA6-5A92-929A50885F92}"/>
              </a:ext>
            </a:extLst>
          </p:cNvPr>
          <p:cNvSpPr/>
          <p:nvPr/>
        </p:nvSpPr>
        <p:spPr>
          <a:xfrm>
            <a:off x="8424395" y="887932"/>
            <a:ext cx="3009877"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海洋事業</a:t>
            </a:r>
          </a:p>
        </p:txBody>
      </p:sp>
      <p:sp>
        <p:nvSpPr>
          <p:cNvPr id="207" name="正方形/長方形 206">
            <a:extLst>
              <a:ext uri="{FF2B5EF4-FFF2-40B4-BE49-F238E27FC236}">
                <a16:creationId xmlns:a16="http://schemas.microsoft.com/office/drawing/2014/main" id="{6455F8A7-096E-65E9-ECF3-6CFD36BADDCB}"/>
              </a:ext>
            </a:extLst>
          </p:cNvPr>
          <p:cNvSpPr/>
          <p:nvPr/>
        </p:nvSpPr>
        <p:spPr>
          <a:xfrm>
            <a:off x="1446275" y="2794371"/>
            <a:ext cx="216967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液化ガス船事業</a:t>
            </a:r>
          </a:p>
        </p:txBody>
      </p:sp>
      <p:sp>
        <p:nvSpPr>
          <p:cNvPr id="208" name="正方形/長方形 207">
            <a:extLst>
              <a:ext uri="{FF2B5EF4-FFF2-40B4-BE49-F238E27FC236}">
                <a16:creationId xmlns:a16="http://schemas.microsoft.com/office/drawing/2014/main" id="{C832A085-51F6-475E-4B6E-0C9AF1EC04F0}"/>
              </a:ext>
            </a:extLst>
          </p:cNvPr>
          <p:cNvSpPr/>
          <p:nvPr/>
        </p:nvSpPr>
        <p:spPr>
          <a:xfrm>
            <a:off x="5145856" y="2794371"/>
            <a:ext cx="216967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自動車船事業</a:t>
            </a:r>
          </a:p>
        </p:txBody>
      </p:sp>
      <p:sp>
        <p:nvSpPr>
          <p:cNvPr id="209" name="正方形/長方形 208">
            <a:extLst>
              <a:ext uri="{FF2B5EF4-FFF2-40B4-BE49-F238E27FC236}">
                <a16:creationId xmlns:a16="http://schemas.microsoft.com/office/drawing/2014/main" id="{66F0E288-ADA3-9D2C-E197-72862AEE80FD}"/>
              </a:ext>
            </a:extLst>
          </p:cNvPr>
          <p:cNvSpPr/>
          <p:nvPr/>
        </p:nvSpPr>
        <p:spPr>
          <a:xfrm>
            <a:off x="8621703" y="2794371"/>
            <a:ext cx="261614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洋上風力発電関連事業</a:t>
            </a:r>
          </a:p>
        </p:txBody>
      </p:sp>
      <p:sp>
        <p:nvSpPr>
          <p:cNvPr id="210" name="正方形/長方形 209">
            <a:extLst>
              <a:ext uri="{FF2B5EF4-FFF2-40B4-BE49-F238E27FC236}">
                <a16:creationId xmlns:a16="http://schemas.microsoft.com/office/drawing/2014/main" id="{46C5574F-8ED8-084C-BB06-6C6B8675270C}"/>
              </a:ext>
            </a:extLst>
          </p:cNvPr>
          <p:cNvSpPr/>
          <p:nvPr/>
        </p:nvSpPr>
        <p:spPr>
          <a:xfrm>
            <a:off x="1163680" y="4612305"/>
            <a:ext cx="2733602"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ロジスティクス事業</a:t>
            </a:r>
          </a:p>
        </p:txBody>
      </p:sp>
      <p:sp>
        <p:nvSpPr>
          <p:cNvPr id="211" name="正方形/長方形 210">
            <a:extLst>
              <a:ext uri="{FF2B5EF4-FFF2-40B4-BE49-F238E27FC236}">
                <a16:creationId xmlns:a16="http://schemas.microsoft.com/office/drawing/2014/main" id="{2BB86194-3EB5-FEAD-1E86-0502DD5A60F2}"/>
              </a:ext>
            </a:extLst>
          </p:cNvPr>
          <p:cNvSpPr/>
          <p:nvPr/>
        </p:nvSpPr>
        <p:spPr>
          <a:xfrm>
            <a:off x="5145856" y="4612305"/>
            <a:ext cx="216967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コンテナ船事業</a:t>
            </a:r>
          </a:p>
        </p:txBody>
      </p:sp>
      <p:sp>
        <p:nvSpPr>
          <p:cNvPr id="212" name="正方形/長方形 211">
            <a:extLst>
              <a:ext uri="{FF2B5EF4-FFF2-40B4-BE49-F238E27FC236}">
                <a16:creationId xmlns:a16="http://schemas.microsoft.com/office/drawing/2014/main" id="{FA226AAD-66B9-148A-E84E-4DDB685FF8DA}"/>
              </a:ext>
            </a:extLst>
          </p:cNvPr>
          <p:cNvSpPr/>
          <p:nvPr/>
        </p:nvSpPr>
        <p:spPr>
          <a:xfrm>
            <a:off x="8845436" y="4612305"/>
            <a:ext cx="2169670" cy="545915"/>
          </a:xfrm>
          <a:prstGeom prst="rect">
            <a:avLst/>
          </a:prstGeom>
          <a:noFill/>
          <a:ln w="25400">
            <a:noFill/>
          </a:ln>
          <a:effectLst>
            <a:softEdge rad="0"/>
          </a:effectLst>
        </p:spPr>
        <p:style>
          <a:lnRef idx="2">
            <a:schemeClr val="dk1">
              <a:shade val="50000"/>
            </a:schemeClr>
          </a:lnRef>
          <a:fillRef idx="1">
            <a:schemeClr val="dk1"/>
          </a:fillRef>
          <a:effectRef idx="0">
            <a:schemeClr val="dk1"/>
          </a:effectRef>
          <a:fontRef idx="minor">
            <a:schemeClr val="lt1"/>
          </a:fontRef>
        </p:style>
        <p:txBody>
          <a:bodyPr lIns="0" tIns="0" rIns="0" bIns="36000" rtlCol="0" anchor="ctr" anchorCtr="0"/>
          <a:lstStyle/>
          <a:p>
            <a:pPr algn="ctr">
              <a:lnSpc>
                <a:spcPct val="150000"/>
              </a:lnSpc>
            </a:pPr>
            <a:r>
              <a:rPr lang="ja-JP" altLang="en-US" dirty="0">
                <a:solidFill>
                  <a:schemeClr val="tx1">
                    <a:lumMod val="50000"/>
                  </a:schemeClr>
                </a:solidFill>
                <a:latin typeface="Meiryo UI" panose="020B0604030504040204" pitchFamily="50" charset="-128"/>
                <a:ea typeface="Meiryo UI" panose="020B0604030504040204" pitchFamily="50" charset="-128"/>
                <a:cs typeface="Microsoft Sans Serif" panose="020B0604020202020204" pitchFamily="34" charset="0"/>
              </a:rPr>
              <a:t>クルーズ事業</a:t>
            </a:r>
          </a:p>
        </p:txBody>
      </p:sp>
      <p:sp>
        <p:nvSpPr>
          <p:cNvPr id="213" name="タイトル 6">
            <a:extLst>
              <a:ext uri="{FF2B5EF4-FFF2-40B4-BE49-F238E27FC236}">
                <a16:creationId xmlns:a16="http://schemas.microsoft.com/office/drawing/2014/main" id="{94898FE2-3C2A-7B3A-D4DC-736F7092CF75}"/>
              </a:ext>
            </a:extLst>
          </p:cNvPr>
          <p:cNvSpPr txBox="1">
            <a:spLocks/>
          </p:cNvSpPr>
          <p:nvPr/>
        </p:nvSpPr>
        <p:spPr>
          <a:xfrm>
            <a:off x="905505" y="301096"/>
            <a:ext cx="10235442" cy="323165"/>
          </a:xfrm>
          <a:prstGeom prst="rect">
            <a:avLst/>
          </a:prstGeom>
        </p:spPr>
        <p:txBody>
          <a:bodyPr wrap="square" lIns="0" tIns="0" rIns="0" bIns="0">
            <a:noAutofit/>
          </a:bodyPr>
          <a:lstStyle>
            <a:lvl1pPr>
              <a:defRPr sz="2100" b="1" i="0" cap="none" spc="0" baseline="0">
                <a:solidFill>
                  <a:srgbClr val="005295"/>
                </a:solidFill>
                <a:latin typeface="Segoe UI" panose="020B0502040204020203" pitchFamily="34" charset="0"/>
                <a:ea typeface="Meiryo UI" panose="020B0604030504040204" pitchFamily="34" charset="-128"/>
                <a:cs typeface="YuGothicStd-L"/>
              </a:defRPr>
            </a:lvl1pPr>
          </a:lstStyle>
          <a:p>
            <a:r>
              <a:rPr lang="ja-JP" altLang="en-US" b="1" dirty="0">
                <a:latin typeface="+mj-ea"/>
                <a:ea typeface="+mj-ea"/>
              </a:rPr>
              <a:t>商船三井</a:t>
            </a:r>
            <a:r>
              <a:rPr lang="ja-JP" altLang="en-US" dirty="0">
                <a:latin typeface="+mj-ea"/>
                <a:ea typeface="+mj-ea"/>
              </a:rPr>
              <a:t>グループ</a:t>
            </a:r>
            <a:r>
              <a:rPr lang="ja-JP" altLang="en-US" b="1" dirty="0">
                <a:latin typeface="+mj-ea"/>
                <a:ea typeface="+mj-ea"/>
              </a:rPr>
              <a:t>：海運業を中心とした社会インフラ企業グループ</a:t>
            </a:r>
            <a:endParaRPr lang="ja-JP" altLang="en-US" dirty="0"/>
          </a:p>
        </p:txBody>
      </p:sp>
    </p:spTree>
    <p:extLst>
      <p:ext uri="{BB962C8B-B14F-4D97-AF65-F5344CB8AC3E}">
        <p14:creationId xmlns:p14="http://schemas.microsoft.com/office/powerpoint/2010/main" val="26048128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F4DFFAE1-41B0-0FC7-EE9A-76F8EC8F1C5C}"/>
              </a:ext>
            </a:extLst>
          </p:cNvPr>
          <p:cNvSpPr>
            <a:spLocks noGrp="1"/>
          </p:cNvSpPr>
          <p:nvPr>
            <p:ph type="body" sz="quarter" idx="11"/>
          </p:nvPr>
        </p:nvSpPr>
        <p:spPr>
          <a:xfrm>
            <a:off x="4842733" y="1652435"/>
            <a:ext cx="6293324" cy="3325965"/>
          </a:xfrm>
        </p:spPr>
        <p:txBody>
          <a:bodyPr wrap="square" lIns="0" tIns="0" rIns="0" bIns="0" anchor="t">
            <a:noAutofit/>
          </a:bodyPr>
          <a:lstStyle/>
          <a:p>
            <a:pPr marL="356870"/>
            <a:endParaRPr lang="ja-JP" altLang="en-US" dirty="0">
              <a:cs typeface="Segoe UI"/>
            </a:endParaRPr>
          </a:p>
          <a:p>
            <a:pPr marL="356870"/>
            <a:endParaRPr lang="ja-JP" altLang="en-US" dirty="0">
              <a:cs typeface="Segoe UI"/>
            </a:endParaRPr>
          </a:p>
        </p:txBody>
      </p:sp>
      <p:sp>
        <p:nvSpPr>
          <p:cNvPr id="3" name="タイトル 2">
            <a:extLst>
              <a:ext uri="{FF2B5EF4-FFF2-40B4-BE49-F238E27FC236}">
                <a16:creationId xmlns:a16="http://schemas.microsoft.com/office/drawing/2014/main" id="{A5F43D7E-010E-C4D4-5838-907A0BE72A2B}"/>
              </a:ext>
            </a:extLst>
          </p:cNvPr>
          <p:cNvSpPr>
            <a:spLocks noGrp="1"/>
          </p:cNvSpPr>
          <p:nvPr>
            <p:ph type="title"/>
          </p:nvPr>
        </p:nvSpPr>
        <p:spPr/>
        <p:txBody>
          <a:bodyPr/>
          <a:lstStyle/>
          <a:p>
            <a:r>
              <a:rPr kumimoji="1" lang="ja-JP" altLang="en-US" dirty="0"/>
              <a:t>目次タイトル</a:t>
            </a:r>
          </a:p>
        </p:txBody>
      </p:sp>
      <p:sp>
        <p:nvSpPr>
          <p:cNvPr id="4" name="テキスト プレースホルダー 2">
            <a:extLst>
              <a:ext uri="{FF2B5EF4-FFF2-40B4-BE49-F238E27FC236}">
                <a16:creationId xmlns:a16="http://schemas.microsoft.com/office/drawing/2014/main" id="{7A1539A8-3A4B-53CB-3229-DA4B57E04679}"/>
              </a:ext>
            </a:extLst>
          </p:cNvPr>
          <p:cNvSpPr txBox="1">
            <a:spLocks/>
          </p:cNvSpPr>
          <p:nvPr/>
        </p:nvSpPr>
        <p:spPr>
          <a:xfrm>
            <a:off x="4733925" y="955328"/>
            <a:ext cx="7124699" cy="4495800"/>
          </a:xfrm>
          <a:prstGeom prst="rect">
            <a:avLst/>
          </a:prstGeom>
        </p:spPr>
        <p:txBody>
          <a:bodyPr wrap="square" lIns="0" tIns="0" rIns="0" bIns="0" anchor="ctr">
            <a:noAutofit/>
          </a:bodyPr>
          <a:lstStyle>
            <a:lvl1pPr marL="357300" indent="-342900">
              <a:lnSpc>
                <a:spcPct val="130000"/>
              </a:lnSpc>
              <a:spcBef>
                <a:spcPts val="100"/>
              </a:spcBef>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1pPr>
            <a:lvl2pPr marL="8001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2pPr>
            <a:lvl3pPr marL="12573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3pPr>
            <a:lvl4pPr marL="17145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4pPr>
            <a:lvl5pPr marL="2171700" indent="-342900">
              <a:spcAft>
                <a:spcPts val="1000"/>
              </a:spcAft>
              <a:buFont typeface="+mj-lt"/>
              <a:buAutoNum type="arabicPeriod"/>
              <a:defRPr sz="1600" b="0" i="0" baseline="0">
                <a:solidFill>
                  <a:schemeClr val="tx1"/>
                </a:solidFill>
                <a:latin typeface="Segoe UI" panose="020B0502040204020203" pitchFamily="34" charset="0"/>
                <a:ea typeface="Meiryo UI" panose="020B0604030504040204" pitchFamily="34" charset="-128"/>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1.</a:t>
            </a:r>
            <a:r>
              <a:rPr kumimoji="1" lang="ja-JP" altLang="en-US"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rPr>
              <a:t>商船三井さんふらわあの概要</a:t>
            </a:r>
            <a:endParaRPr kumimoji="1" lang="en-US" altLang="ja-JP" sz="1800" b="1" i="0" u="none" strike="noStrike" kern="0" cap="none" spc="0" normalizeH="0" baseline="0" noProof="0" dirty="0">
              <a:ln>
                <a:noFill/>
              </a:ln>
              <a:effectLst/>
              <a:uLnTx/>
              <a:uFillTx/>
              <a:latin typeface="Segoe UI" panose="020B0502040204020203" pitchFamily="34" charset="0"/>
              <a:ea typeface="Meiryo UI" panose="020B0604030504040204" pitchFamily="34" charset="-128"/>
              <a:cs typeface="+mn-cs"/>
            </a:endParaRPr>
          </a:p>
          <a:p>
            <a:pPr marL="14400" marR="0" lvl="0" indent="0"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FF0000"/>
              </a:solidFill>
            </a:endParaRPr>
          </a:p>
          <a:p>
            <a:pPr marL="14400" marR="0" lvl="0" indent="0"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solidFill>
                  <a:srgbClr val="FF0000"/>
                </a:solidFill>
              </a:rPr>
              <a:t>2</a:t>
            </a:r>
            <a:r>
              <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商船三井グループ環境ビジョン</a:t>
            </a:r>
            <a:r>
              <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2.2</a:t>
            </a:r>
            <a:r>
              <a:rPr kumimoji="1" lang="ja-JP" altLang="en-US"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rPr>
              <a:t>の概要</a:t>
            </a:r>
            <a:endParaRPr kumimoji="1" lang="en-US" altLang="ja-JP" sz="1800" b="1" i="0" u="none" strike="noStrike" kern="0" cap="none" spc="0" normalizeH="0" baseline="0" noProof="0" dirty="0">
              <a:ln>
                <a:noFill/>
              </a:ln>
              <a:solidFill>
                <a:srgbClr val="FF0000"/>
              </a:solidFill>
              <a:effectLst/>
              <a:uLnTx/>
              <a:uFillTx/>
              <a:latin typeface="Segoe UI" panose="020B0502040204020203" pitchFamily="34" charset="0"/>
              <a:ea typeface="Meiryo UI" panose="020B0604030504040204" pitchFamily="34" charset="-128"/>
              <a:cs typeface="+mn-cs"/>
            </a:endParaRPr>
          </a:p>
          <a:p>
            <a:pPr marL="714375" marR="0" lvl="0" indent="-352425" defTabSz="914400" eaLnBrk="1" fontAlgn="auto" latinLnBrk="0" hangingPunct="1">
              <a:lnSpc>
                <a:spcPct val="100000"/>
              </a:lnSpc>
              <a:spcBef>
                <a:spcPts val="0"/>
              </a:spcBef>
              <a:spcAft>
                <a:spcPts val="600"/>
              </a:spcAft>
              <a:buClrTx/>
              <a:buSzTx/>
              <a:buFont typeface="Wingdings" panose="05000000000000000000" pitchFamily="2" charset="2"/>
              <a:buChar char="ü"/>
              <a:tabLst/>
              <a:defRPr/>
            </a:pPr>
            <a:endParaRPr kumimoji="1" lang="en-US" altLang="ja-JP" sz="1800" b="0"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dirty="0">
                <a:solidFill>
                  <a:srgbClr val="59595D"/>
                </a:solidFill>
              </a:rPr>
              <a:t>3</a:t>
            </a:r>
            <a:r>
              <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a:t>
            </a:r>
            <a:r>
              <a:rPr kumimoji="1" lang="ja-JP" altLang="en-US"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日本初の</a:t>
            </a:r>
            <a:r>
              <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LNG</a:t>
            </a:r>
            <a:r>
              <a:rPr kumimoji="1" lang="ja-JP" altLang="en-US"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燃料フェリー「さんふらわあ くれない・むらさき」</a:t>
            </a:r>
            <a:endPar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endParaRPr kumimoji="1" lang="en-US" altLang="ja-JP" sz="1800" b="1" dirty="0">
              <a:solidFill>
                <a:srgbClr val="59595D"/>
              </a:solidFill>
            </a:endParaRPr>
          </a:p>
          <a:p>
            <a:pPr marL="269875" marR="0" lvl="0" indent="-255588" defTabSz="914400" eaLnBrk="1" fontAlgn="auto" latinLnBrk="0" hangingPunct="1">
              <a:lnSpc>
                <a:spcPct val="100000"/>
              </a:lnSpc>
              <a:spcBef>
                <a:spcPts val="0"/>
              </a:spcBef>
              <a:spcAft>
                <a:spcPts val="600"/>
              </a:spcAft>
              <a:buClrTx/>
              <a:buSzTx/>
              <a:buFont typeface="+mj-lt"/>
              <a:buNone/>
              <a:tabLst/>
              <a:defRPr/>
            </a:pPr>
            <a:r>
              <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4.</a:t>
            </a:r>
            <a:r>
              <a:rPr kumimoji="1" lang="ja-JP" altLang="en-US"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rPr>
              <a:t>終わりに</a:t>
            </a:r>
            <a:endParaRPr kumimoji="1" lang="en-US" altLang="ja-JP" sz="1800" b="1" i="0" u="none" strike="noStrike" kern="0" cap="none" spc="0" normalizeH="0" baseline="0" noProof="0" dirty="0">
              <a:ln>
                <a:noFill/>
              </a:ln>
              <a:solidFill>
                <a:srgbClr val="59595D"/>
              </a:solidFill>
              <a:effectLst/>
              <a:uLnTx/>
              <a:uFillTx/>
              <a:latin typeface="Segoe UI" panose="020B0502040204020203" pitchFamily="34" charset="0"/>
              <a:ea typeface="Meiryo UI" panose="020B0604030504040204" pitchFamily="34" charset="-128"/>
              <a:cs typeface="+mn-cs"/>
            </a:endParaRPr>
          </a:p>
        </p:txBody>
      </p:sp>
    </p:spTree>
    <p:extLst>
      <p:ext uri="{BB962C8B-B14F-4D97-AF65-F5344CB8AC3E}">
        <p14:creationId xmlns:p14="http://schemas.microsoft.com/office/powerpoint/2010/main" val="2466072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850D0E0-B3DA-4AEF-AA6C-19349E67B1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6" progId="TCLayout.ActiveDocument.1">
                  <p:embed/>
                </p:oleObj>
              </mc:Choice>
              <mc:Fallback>
                <p:oleObj name="think-cell スライド" r:id="rId4" imgW="473" imgH="476" progId="TCLayout.ActiveDocument.1">
                  <p:embed/>
                  <p:pic>
                    <p:nvPicPr>
                      <p:cNvPr id="7" name="think-cell data - do not delete" hidden="1">
                        <a:extLst>
                          <a:ext uri="{FF2B5EF4-FFF2-40B4-BE49-F238E27FC236}">
                            <a16:creationId xmlns:a16="http://schemas.microsoft.com/office/drawing/2014/main" id="{B850D0E0-B3DA-4AEF-AA6C-19349E67B1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CE2BB47-8376-48D8-8A25-6CE41363E6A7}"/>
              </a:ext>
            </a:extLst>
          </p:cNvPr>
          <p:cNvSpPr>
            <a:spLocks noGrp="1"/>
          </p:cNvSpPr>
          <p:nvPr>
            <p:ph type="title"/>
          </p:nvPr>
        </p:nvSpPr>
        <p:spPr>
          <a:xfrm>
            <a:off x="978658" y="139434"/>
            <a:ext cx="10235442" cy="323165"/>
          </a:xfrm>
        </p:spPr>
        <p:txBody>
          <a:bodyPr vert="horz"/>
          <a:lstStyle/>
          <a:p>
            <a:r>
              <a:rPr kumimoji="1" lang="ja-JP" altLang="en-US" dirty="0"/>
              <a:t>商船三井グループのサステナビリティ経営</a:t>
            </a:r>
          </a:p>
        </p:txBody>
      </p:sp>
      <p:sp>
        <p:nvSpPr>
          <p:cNvPr id="3" name="テキスト プレースホルダー 2">
            <a:extLst>
              <a:ext uri="{FF2B5EF4-FFF2-40B4-BE49-F238E27FC236}">
                <a16:creationId xmlns:a16="http://schemas.microsoft.com/office/drawing/2014/main" id="{AD0866A5-92B5-465D-95A3-A558BE5340DD}"/>
              </a:ext>
            </a:extLst>
          </p:cNvPr>
          <p:cNvSpPr>
            <a:spLocks noGrp="1"/>
          </p:cNvSpPr>
          <p:nvPr>
            <p:ph type="body" sz="quarter" idx="11"/>
          </p:nvPr>
        </p:nvSpPr>
        <p:spPr/>
        <p:txBody>
          <a:bodyPr/>
          <a:lstStyle/>
          <a:p>
            <a:pPr marL="300150" indent="-285750">
              <a:lnSpc>
                <a:spcPct val="100000"/>
              </a:lnSpc>
              <a:spcBef>
                <a:spcPts val="0"/>
              </a:spcBef>
              <a:spcAft>
                <a:spcPts val="600"/>
              </a:spcAft>
              <a:buClr>
                <a:schemeClr val="accent3"/>
              </a:buClr>
              <a:buFont typeface="Wingdings" panose="05000000000000000000" pitchFamily="2" charset="2"/>
              <a:buChar char="n"/>
            </a:pPr>
            <a:r>
              <a:rPr kumimoji="1" lang="ja-JP" altLang="en-US" dirty="0"/>
              <a:t>商船三井グループは、</a:t>
            </a:r>
            <a:r>
              <a:rPr kumimoji="1" lang="en-US" altLang="ja-JP" dirty="0"/>
              <a:t>5</a:t>
            </a:r>
            <a:r>
              <a:rPr kumimoji="1" lang="ja-JP" altLang="en-US" dirty="0"/>
              <a:t>つの「サステナビリティ課題」を特定し、経営計画「</a:t>
            </a:r>
            <a:r>
              <a:rPr kumimoji="1" lang="en-US" altLang="ja-JP" dirty="0"/>
              <a:t>BLUE ACTION 2035</a:t>
            </a:r>
            <a:r>
              <a:rPr kumimoji="1" lang="ja-JP" altLang="en-US" dirty="0"/>
              <a:t>」の一部として、それらの課題に対する具体的な行動計画「</a:t>
            </a:r>
            <a:r>
              <a:rPr kumimoji="1" lang="en-US" altLang="ja-JP" dirty="0"/>
              <a:t>MOL Sustainability Plan</a:t>
            </a:r>
            <a:r>
              <a:rPr kumimoji="1" lang="ja-JP" altLang="en-US" dirty="0"/>
              <a:t>（</a:t>
            </a:r>
            <a:r>
              <a:rPr kumimoji="1" lang="en-US" altLang="ja-JP" dirty="0"/>
              <a:t>MSP</a:t>
            </a:r>
            <a:r>
              <a:rPr kumimoji="1" lang="ja-JP" altLang="en-US" dirty="0"/>
              <a:t>）」を策定しています。</a:t>
            </a:r>
          </a:p>
          <a:p>
            <a:pPr marL="300150" indent="-285750">
              <a:lnSpc>
                <a:spcPct val="100000"/>
              </a:lnSpc>
              <a:spcBef>
                <a:spcPts val="0"/>
              </a:spcBef>
              <a:spcAft>
                <a:spcPts val="600"/>
              </a:spcAft>
              <a:buClr>
                <a:schemeClr val="accent3"/>
              </a:buClr>
              <a:buFont typeface="Wingdings" panose="05000000000000000000" pitchFamily="2" charset="2"/>
              <a:buChar char="n"/>
            </a:pPr>
            <a:r>
              <a:rPr kumimoji="1" lang="ja-JP" altLang="en-US" dirty="0"/>
              <a:t>環境ビジョン</a:t>
            </a:r>
            <a:r>
              <a:rPr kumimoji="1" lang="en-US" altLang="ja-JP" dirty="0"/>
              <a:t>2.2</a:t>
            </a:r>
            <a:r>
              <a:rPr kumimoji="1" lang="ja-JP" altLang="en-US" dirty="0"/>
              <a:t>は、サステナビリティ課題の一つ「海洋・地球環境の保全」における、ビジョン（目標とアクション）を示すものです。</a:t>
            </a:r>
          </a:p>
          <a:p>
            <a:pPr marL="300150" indent="-285750">
              <a:lnSpc>
                <a:spcPct val="100000"/>
              </a:lnSpc>
              <a:spcBef>
                <a:spcPts val="0"/>
              </a:spcBef>
              <a:spcAft>
                <a:spcPts val="600"/>
              </a:spcAft>
              <a:buClr>
                <a:schemeClr val="accent3"/>
              </a:buClr>
              <a:buFont typeface="Wingdings" panose="05000000000000000000" pitchFamily="2" charset="2"/>
              <a:buChar char="n"/>
            </a:pPr>
            <a:endParaRPr kumimoji="1" lang="ja-JP" altLang="en-US" dirty="0"/>
          </a:p>
        </p:txBody>
      </p:sp>
      <p:sp>
        <p:nvSpPr>
          <p:cNvPr id="4" name="スライド番号プレースホルダー 3">
            <a:extLst>
              <a:ext uri="{FF2B5EF4-FFF2-40B4-BE49-F238E27FC236}">
                <a16:creationId xmlns:a16="http://schemas.microsoft.com/office/drawing/2014/main" id="{23C510EB-48F2-4810-97CC-4B9298EB7E44}"/>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1" lang="ja-JP" altLang="en-US" sz="1000" b="0" i="0" u="none" strike="noStrike" kern="0" cap="none" spc="0" normalizeH="0" baseline="0" noProof="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
        <p:nvSpPr>
          <p:cNvPr id="6" name="テキスト プレースホルダー 5">
            <a:extLst>
              <a:ext uri="{FF2B5EF4-FFF2-40B4-BE49-F238E27FC236}">
                <a16:creationId xmlns:a16="http://schemas.microsoft.com/office/drawing/2014/main" id="{80828537-6A07-4D69-8306-B2E20902756A}"/>
              </a:ext>
            </a:extLst>
          </p:cNvPr>
          <p:cNvSpPr>
            <a:spLocks noGrp="1"/>
          </p:cNvSpPr>
          <p:nvPr>
            <p:ph type="body" sz="quarter" idx="14"/>
          </p:nvPr>
        </p:nvSpPr>
        <p:spPr>
          <a:xfrm>
            <a:off x="977900" y="454692"/>
            <a:ext cx="10235442" cy="296876"/>
          </a:xfrm>
        </p:spPr>
        <p:txBody>
          <a:bodyPr/>
          <a:lstStyle/>
          <a:p>
            <a:r>
              <a:rPr kumimoji="1" lang="ja-JP" altLang="en-US" dirty="0"/>
              <a:t>～環境ビジョン</a:t>
            </a:r>
            <a:r>
              <a:rPr kumimoji="1" lang="en-US" altLang="ja-JP" dirty="0"/>
              <a:t>2.2</a:t>
            </a:r>
            <a:r>
              <a:rPr kumimoji="1" lang="ja-JP" altLang="en-US" dirty="0"/>
              <a:t>の位置づけ～</a:t>
            </a:r>
          </a:p>
        </p:txBody>
      </p:sp>
      <p:pic>
        <p:nvPicPr>
          <p:cNvPr id="10" name="object 19">
            <a:extLst>
              <a:ext uri="{FF2B5EF4-FFF2-40B4-BE49-F238E27FC236}">
                <a16:creationId xmlns:a16="http://schemas.microsoft.com/office/drawing/2014/main" id="{63667E94-EC7F-4F5C-B214-A7BE917FF4F7}"/>
              </a:ext>
            </a:extLst>
          </p:cNvPr>
          <p:cNvPicPr/>
          <p:nvPr/>
        </p:nvPicPr>
        <p:blipFill>
          <a:blip r:embed="rId6" cstate="print"/>
          <a:stretch>
            <a:fillRect/>
          </a:stretch>
        </p:blipFill>
        <p:spPr>
          <a:xfrm>
            <a:off x="953988" y="2564902"/>
            <a:ext cx="3656366" cy="3656366"/>
          </a:xfrm>
          <a:prstGeom prst="rect">
            <a:avLst/>
          </a:prstGeom>
        </p:spPr>
      </p:pic>
      <p:pic>
        <p:nvPicPr>
          <p:cNvPr id="11" name="object 20">
            <a:extLst>
              <a:ext uri="{FF2B5EF4-FFF2-40B4-BE49-F238E27FC236}">
                <a16:creationId xmlns:a16="http://schemas.microsoft.com/office/drawing/2014/main" id="{3349B76C-0F05-4CBB-A903-1B8B376244E2}"/>
              </a:ext>
            </a:extLst>
          </p:cNvPr>
          <p:cNvPicPr/>
          <p:nvPr/>
        </p:nvPicPr>
        <p:blipFill>
          <a:blip r:embed="rId7" cstate="print">
            <a:extLst>
              <a:ext uri="{28A0092B-C50C-407E-A947-70E740481C1C}">
                <a14:useLocalDpi xmlns:a14="http://schemas.microsoft.com/office/drawing/2010/main"/>
              </a:ext>
            </a:extLst>
          </a:blip>
          <a:stretch>
            <a:fillRect/>
          </a:stretch>
        </p:blipFill>
        <p:spPr>
          <a:xfrm>
            <a:off x="4189728" y="2426529"/>
            <a:ext cx="3834383" cy="3785615"/>
          </a:xfrm>
          <a:prstGeom prst="rect">
            <a:avLst/>
          </a:prstGeom>
        </p:spPr>
      </p:pic>
      <p:pic>
        <p:nvPicPr>
          <p:cNvPr id="12" name="object 14">
            <a:extLst>
              <a:ext uri="{FF2B5EF4-FFF2-40B4-BE49-F238E27FC236}">
                <a16:creationId xmlns:a16="http://schemas.microsoft.com/office/drawing/2014/main" id="{F60D06DB-38DD-4A08-B344-D8CB7C9FC8CC}"/>
              </a:ext>
            </a:extLst>
          </p:cNvPr>
          <p:cNvPicPr/>
          <p:nvPr/>
        </p:nvPicPr>
        <p:blipFill>
          <a:blip r:embed="rId8" cstate="print">
            <a:extLst>
              <a:ext uri="{28A0092B-C50C-407E-A947-70E740481C1C}">
                <a14:useLocalDpi xmlns:a14="http://schemas.microsoft.com/office/drawing/2010/main"/>
              </a:ext>
            </a:extLst>
          </a:blip>
          <a:stretch>
            <a:fillRect/>
          </a:stretch>
        </p:blipFill>
        <p:spPr>
          <a:xfrm>
            <a:off x="8511793" y="2449347"/>
            <a:ext cx="2715767" cy="493775"/>
          </a:xfrm>
          <a:prstGeom prst="rect">
            <a:avLst/>
          </a:prstGeom>
        </p:spPr>
      </p:pic>
      <p:pic>
        <p:nvPicPr>
          <p:cNvPr id="13" name="object 15">
            <a:extLst>
              <a:ext uri="{FF2B5EF4-FFF2-40B4-BE49-F238E27FC236}">
                <a16:creationId xmlns:a16="http://schemas.microsoft.com/office/drawing/2014/main" id="{0241F156-6D54-40A5-8484-BE706962BA88}"/>
              </a:ext>
            </a:extLst>
          </p:cNvPr>
          <p:cNvPicPr/>
          <p:nvPr/>
        </p:nvPicPr>
        <p:blipFill>
          <a:blip r:embed="rId9" cstate="print">
            <a:extLst>
              <a:ext uri="{28A0092B-C50C-407E-A947-70E740481C1C}">
                <a14:useLocalDpi xmlns:a14="http://schemas.microsoft.com/office/drawing/2010/main"/>
              </a:ext>
            </a:extLst>
          </a:blip>
          <a:stretch>
            <a:fillRect/>
          </a:stretch>
        </p:blipFill>
        <p:spPr>
          <a:xfrm>
            <a:off x="8511793" y="4546371"/>
            <a:ext cx="2715767" cy="490727"/>
          </a:xfrm>
          <a:prstGeom prst="rect">
            <a:avLst/>
          </a:prstGeom>
        </p:spPr>
      </p:pic>
      <p:pic>
        <p:nvPicPr>
          <p:cNvPr id="14" name="object 16">
            <a:extLst>
              <a:ext uri="{FF2B5EF4-FFF2-40B4-BE49-F238E27FC236}">
                <a16:creationId xmlns:a16="http://schemas.microsoft.com/office/drawing/2014/main" id="{B13B7585-4DD4-4009-9041-6B580B9F7FFC}"/>
              </a:ext>
            </a:extLst>
          </p:cNvPr>
          <p:cNvPicPr/>
          <p:nvPr/>
        </p:nvPicPr>
        <p:blipFill>
          <a:blip r:embed="rId10" cstate="print">
            <a:extLst>
              <a:ext uri="{28A0092B-C50C-407E-A947-70E740481C1C}">
                <a14:useLocalDpi xmlns:a14="http://schemas.microsoft.com/office/drawing/2010/main"/>
              </a:ext>
            </a:extLst>
          </a:blip>
          <a:stretch>
            <a:fillRect/>
          </a:stretch>
        </p:blipFill>
        <p:spPr>
          <a:xfrm>
            <a:off x="8511793" y="5115331"/>
            <a:ext cx="2715767" cy="493775"/>
          </a:xfrm>
          <a:prstGeom prst="rect">
            <a:avLst/>
          </a:prstGeom>
        </p:spPr>
      </p:pic>
      <p:pic>
        <p:nvPicPr>
          <p:cNvPr id="15" name="object 17">
            <a:extLst>
              <a:ext uri="{FF2B5EF4-FFF2-40B4-BE49-F238E27FC236}">
                <a16:creationId xmlns:a16="http://schemas.microsoft.com/office/drawing/2014/main" id="{C02FDEA6-A389-4122-827D-917655625B64}"/>
              </a:ext>
            </a:extLst>
          </p:cNvPr>
          <p:cNvPicPr/>
          <p:nvPr/>
        </p:nvPicPr>
        <p:blipFill>
          <a:blip r:embed="rId11" cstate="print">
            <a:extLst>
              <a:ext uri="{28A0092B-C50C-407E-A947-70E740481C1C}">
                <a14:useLocalDpi xmlns:a14="http://schemas.microsoft.com/office/drawing/2010/main"/>
              </a:ext>
            </a:extLst>
          </a:blip>
          <a:stretch>
            <a:fillRect/>
          </a:stretch>
        </p:blipFill>
        <p:spPr>
          <a:xfrm>
            <a:off x="8511793" y="5687339"/>
            <a:ext cx="2715767" cy="490727"/>
          </a:xfrm>
          <a:prstGeom prst="rect">
            <a:avLst/>
          </a:prstGeom>
        </p:spPr>
      </p:pic>
      <p:pic>
        <p:nvPicPr>
          <p:cNvPr id="16" name="object 2">
            <a:extLst>
              <a:ext uri="{FF2B5EF4-FFF2-40B4-BE49-F238E27FC236}">
                <a16:creationId xmlns:a16="http://schemas.microsoft.com/office/drawing/2014/main" id="{2E390C13-AC6E-4C27-B71C-C9AE467DBF15}"/>
              </a:ext>
            </a:extLst>
          </p:cNvPr>
          <p:cNvPicPr/>
          <p:nvPr/>
        </p:nvPicPr>
        <p:blipFill>
          <a:blip r:embed="rId12" cstate="print">
            <a:extLst>
              <a:ext uri="{28A0092B-C50C-407E-A947-70E740481C1C}">
                <a14:useLocalDpi xmlns:a14="http://schemas.microsoft.com/office/drawing/2010/main"/>
              </a:ext>
            </a:extLst>
          </a:blip>
          <a:stretch>
            <a:fillRect/>
          </a:stretch>
        </p:blipFill>
        <p:spPr>
          <a:xfrm>
            <a:off x="4963921" y="3116859"/>
            <a:ext cx="3133343" cy="1027175"/>
          </a:xfrm>
          <a:prstGeom prst="rect">
            <a:avLst/>
          </a:prstGeom>
        </p:spPr>
      </p:pic>
      <p:sp>
        <p:nvSpPr>
          <p:cNvPr id="17" name="object 6">
            <a:extLst>
              <a:ext uri="{FF2B5EF4-FFF2-40B4-BE49-F238E27FC236}">
                <a16:creationId xmlns:a16="http://schemas.microsoft.com/office/drawing/2014/main" id="{795F485E-56D5-45A1-81EF-494BD73B421F}"/>
              </a:ext>
            </a:extLst>
          </p:cNvPr>
          <p:cNvSpPr txBox="1"/>
          <p:nvPr/>
        </p:nvSpPr>
        <p:spPr>
          <a:xfrm>
            <a:off x="8511794" y="2578682"/>
            <a:ext cx="2709670" cy="228268"/>
          </a:xfrm>
          <a:prstGeom prst="rect">
            <a:avLst/>
          </a:prstGeom>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sz="1400" b="1" i="0" u="none" strike="noStrike" kern="0" cap="none" spc="0" normalizeH="0" baseline="0" noProof="0">
                <a:ln>
                  <a:noFill/>
                </a:ln>
                <a:solidFill>
                  <a:srgbClr val="009FDC"/>
                </a:solidFill>
                <a:effectLst/>
                <a:uLnTx/>
                <a:uFillTx/>
                <a:latin typeface="游ゴシック Medium"/>
                <a:ea typeface="游ゴシック Medium"/>
                <a:cs typeface="YuGothic"/>
              </a:rPr>
              <a:t>Safety </a:t>
            </a:r>
            <a:r>
              <a:rPr kumimoji="0" lang="ja-JP" altLang="en-US" sz="1400" b="1" i="0" u="none" strike="noStrike" kern="0" cap="none" spc="0" normalizeH="0" baseline="0" noProof="0">
                <a:ln>
                  <a:noFill/>
                </a:ln>
                <a:solidFill>
                  <a:srgbClr val="009FDC"/>
                </a:solidFill>
                <a:effectLst/>
                <a:uLnTx/>
                <a:uFillTx/>
                <a:latin typeface="游ゴシック Medium"/>
                <a:ea typeface="游ゴシック Medium"/>
                <a:cs typeface="YuGothic"/>
              </a:rPr>
              <a:t>ビジョン</a:t>
            </a:r>
            <a:r>
              <a:rPr kumimoji="0" lang="en-US" sz="1400" b="1" i="0" u="none" strike="noStrike" kern="0" cap="none" spc="0" normalizeH="0" baseline="0" noProof="0">
                <a:ln>
                  <a:noFill/>
                </a:ln>
                <a:solidFill>
                  <a:srgbClr val="009FDC"/>
                </a:solidFill>
                <a:effectLst/>
                <a:uLnTx/>
                <a:uFillTx/>
                <a:latin typeface="游ゴシック Medium"/>
                <a:ea typeface="游ゴシック Medium"/>
                <a:cs typeface="YuGothic"/>
              </a:rPr>
              <a:t>(</a:t>
            </a:r>
            <a:r>
              <a:rPr kumimoji="0" lang="ja-JP" altLang="en-US" sz="1400" b="1" i="0" u="none" strike="noStrike" kern="0" cap="none" spc="0" normalizeH="0" baseline="0" noProof="0">
                <a:ln>
                  <a:noFill/>
                </a:ln>
                <a:solidFill>
                  <a:srgbClr val="009FDC"/>
                </a:solidFill>
                <a:effectLst/>
                <a:uLnTx/>
                <a:uFillTx/>
                <a:latin typeface="游ゴシック Medium"/>
                <a:ea typeface="游ゴシック Medium"/>
                <a:cs typeface="YuGothic"/>
              </a:rPr>
              <a:t>予定</a:t>
            </a:r>
            <a:r>
              <a:rPr kumimoji="0" lang="en-US" altLang="ja-JP" sz="1400" b="1" i="0" u="none" strike="noStrike" kern="0" cap="none" spc="0" normalizeH="0" baseline="0" noProof="0">
                <a:ln>
                  <a:noFill/>
                </a:ln>
                <a:solidFill>
                  <a:srgbClr val="009FDC"/>
                </a:solidFill>
                <a:effectLst/>
                <a:uLnTx/>
                <a:uFillTx/>
                <a:latin typeface="游ゴシック Medium"/>
                <a:ea typeface="游ゴシック Medium"/>
                <a:cs typeface="YuGothic"/>
              </a:rPr>
              <a:t>)</a:t>
            </a:r>
          </a:p>
        </p:txBody>
      </p:sp>
      <p:sp>
        <p:nvSpPr>
          <p:cNvPr id="18" name="object 7">
            <a:extLst>
              <a:ext uri="{FF2B5EF4-FFF2-40B4-BE49-F238E27FC236}">
                <a16:creationId xmlns:a16="http://schemas.microsoft.com/office/drawing/2014/main" id="{FFC61BD0-6EEC-497B-B516-3BDF72C6010B}"/>
              </a:ext>
            </a:extLst>
          </p:cNvPr>
          <p:cNvSpPr txBox="1"/>
          <p:nvPr/>
        </p:nvSpPr>
        <p:spPr>
          <a:xfrm>
            <a:off x="5817579" y="2588828"/>
            <a:ext cx="2097405" cy="559127"/>
          </a:xfrm>
          <a:prstGeom prst="rect">
            <a:avLst/>
          </a:prstGeom>
        </p:spPr>
        <p:txBody>
          <a:bodyPr vert="horz" wrap="square" lIns="0" tIns="27940" rIns="0" bIns="0" rtlCol="0">
            <a:spAutoFit/>
          </a:bodyPr>
          <a:lstStyle/>
          <a:p>
            <a:pPr marL="12700" marR="0" lvl="0" indent="0" defTabSz="914400" eaLnBrk="1" fontAlgn="auto" latinLnBrk="0" hangingPunct="1">
              <a:lnSpc>
                <a:spcPct val="100000"/>
              </a:lnSpc>
              <a:spcBef>
                <a:spcPts val="220"/>
              </a:spcBef>
              <a:spcAft>
                <a:spcPts val="0"/>
              </a:spcAft>
              <a:buClrTx/>
              <a:buSzTx/>
              <a:buFontTx/>
              <a:buNone/>
              <a:tabLst/>
              <a:defRPr/>
            </a:pPr>
            <a:r>
              <a:rPr kumimoji="0" sz="1200" b="1" i="0" u="none" strike="noStrike" kern="0" cap="none" spc="0" normalizeH="0" baseline="0" noProof="0">
                <a:ln>
                  <a:noFill/>
                </a:ln>
                <a:solidFill>
                  <a:srgbClr val="005396"/>
                </a:solidFill>
                <a:effectLst/>
                <a:uLnTx/>
                <a:uFillTx/>
                <a:latin typeface="游ゴシック Medium"/>
                <a:ea typeface="游ゴシック Medium"/>
                <a:cs typeface="YuGothic"/>
              </a:rPr>
              <a:t>Safety</a:t>
            </a:r>
            <a:r>
              <a:rPr kumimoji="0" sz="1200" b="1" i="0" u="none" strike="noStrike" kern="0" cap="none" spc="-15" normalizeH="0" baseline="0" noProof="0">
                <a:ln>
                  <a:noFill/>
                </a:ln>
                <a:solidFill>
                  <a:srgbClr val="005396"/>
                </a:solidFill>
                <a:effectLst/>
                <a:uLnTx/>
                <a:uFillTx/>
                <a:latin typeface="游ゴシック Medium"/>
                <a:ea typeface="游ゴシック Medium"/>
                <a:cs typeface="YuGothic"/>
              </a:rPr>
              <a:t> </a:t>
            </a:r>
            <a:r>
              <a:rPr kumimoji="0" sz="1200" b="1" i="0" u="none" strike="noStrike" kern="0" cap="none" spc="0" normalizeH="0" baseline="0" noProof="0">
                <a:ln>
                  <a:noFill/>
                </a:ln>
                <a:solidFill>
                  <a:srgbClr val="005396"/>
                </a:solidFill>
                <a:effectLst/>
                <a:uLnTx/>
                <a:uFillTx/>
                <a:latin typeface="游ゴシック Medium"/>
                <a:ea typeface="游ゴシック Medium"/>
                <a:cs typeface="YuGothic"/>
              </a:rPr>
              <a:t>&amp; </a:t>
            </a:r>
            <a:r>
              <a:rPr kumimoji="0" sz="1200" b="1" i="0" u="none" strike="noStrike" kern="0" cap="none" spc="-20" normalizeH="0" baseline="0" noProof="0">
                <a:ln>
                  <a:noFill/>
                </a:ln>
                <a:solidFill>
                  <a:srgbClr val="005396"/>
                </a:solidFill>
                <a:effectLst/>
                <a:uLnTx/>
                <a:uFillTx/>
                <a:latin typeface="游ゴシック Medium"/>
                <a:ea typeface="游ゴシック Medium"/>
                <a:cs typeface="YuGothic"/>
              </a:rPr>
              <a:t>Value</a:t>
            </a:r>
            <a:endParaRPr kumimoji="0" sz="12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12700" marR="0" lvl="0" indent="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85" normalizeH="0" baseline="0" noProof="0">
                <a:ln>
                  <a:noFill/>
                </a:ln>
                <a:solidFill>
                  <a:srgbClr val="005396"/>
                </a:solidFill>
                <a:effectLst/>
                <a:uLnTx/>
                <a:uFillTx/>
                <a:latin typeface="游ゴシック Medium"/>
                <a:ea typeface="游ゴシック Medium"/>
                <a:cs typeface="YuGothic"/>
              </a:rPr>
              <a:t>(</a:t>
            </a:r>
            <a:r>
              <a:rPr kumimoji="0" lang="ja-JP" altLang="en-US" sz="1000" b="1" i="0" u="none" strike="noStrike" kern="0" cap="none" spc="-85" normalizeH="0" baseline="0" noProof="0">
                <a:ln>
                  <a:noFill/>
                </a:ln>
                <a:solidFill>
                  <a:srgbClr val="005396"/>
                </a:solidFill>
                <a:effectLst/>
                <a:uLnTx/>
                <a:uFillTx/>
                <a:latin typeface="游ゴシック Medium"/>
                <a:ea typeface="游ゴシック Medium"/>
                <a:cs typeface="YuGothic"/>
              </a:rPr>
              <a:t>安全輸送・社会インフラ事業を通じた</a:t>
            </a:r>
            <a:endParaRPr kumimoji="0" sz="10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48895" marR="0" lvl="0" indent="0" defTabSz="914400" eaLnBrk="1" fontAlgn="auto" latinLnBrk="0" hangingPunct="1">
              <a:lnSpc>
                <a:spcPct val="100000"/>
              </a:lnSpc>
              <a:spcBef>
                <a:spcPts val="215"/>
              </a:spcBef>
              <a:spcAft>
                <a:spcPts val="0"/>
              </a:spcAft>
              <a:buClrTx/>
              <a:buSzTx/>
              <a:buFontTx/>
              <a:buNone/>
              <a:tabLst/>
              <a:defRPr/>
            </a:pPr>
            <a:r>
              <a:rPr kumimoji="0" sz="1000" b="1" i="0" u="none" strike="noStrike" kern="0" cap="none" spc="-20" normalizeH="0" baseline="0" noProof="0" err="1">
                <a:ln>
                  <a:noFill/>
                </a:ln>
                <a:solidFill>
                  <a:srgbClr val="005396"/>
                </a:solidFill>
                <a:effectLst/>
                <a:uLnTx/>
                <a:uFillTx/>
                <a:latin typeface="游ゴシック Medium"/>
                <a:ea typeface="游ゴシック Medium"/>
                <a:cs typeface="YuGothic"/>
              </a:rPr>
              <a:t>付加価値の提供</a:t>
            </a:r>
            <a:r>
              <a:rPr kumimoji="0" sz="1000" b="1" i="0" u="none" strike="noStrike" kern="0" cap="none" spc="-20" normalizeH="0" baseline="0" noProof="0">
                <a:ln>
                  <a:noFill/>
                </a:ln>
                <a:solidFill>
                  <a:srgbClr val="005396"/>
                </a:solidFill>
                <a:effectLst/>
                <a:uLnTx/>
                <a:uFillTx/>
                <a:latin typeface="游ゴシック Medium"/>
                <a:ea typeface="游ゴシック Medium"/>
                <a:cs typeface="YuGothic"/>
              </a:rPr>
              <a:t>)</a:t>
            </a:r>
            <a:endParaRPr kumimoji="0" sz="1000" b="0" i="0" u="none" strike="noStrike" kern="0" cap="none" spc="0" normalizeH="0" baseline="0" noProof="0">
              <a:ln>
                <a:noFill/>
              </a:ln>
              <a:solidFill>
                <a:srgbClr val="005396"/>
              </a:solidFill>
              <a:effectLst/>
              <a:uLnTx/>
              <a:uFillTx/>
              <a:latin typeface="游ゴシック Medium"/>
              <a:ea typeface="游ゴシック Medium"/>
              <a:cs typeface="YuGothic"/>
            </a:endParaRPr>
          </a:p>
        </p:txBody>
      </p:sp>
      <p:sp>
        <p:nvSpPr>
          <p:cNvPr id="19" name="object 8">
            <a:extLst>
              <a:ext uri="{FF2B5EF4-FFF2-40B4-BE49-F238E27FC236}">
                <a16:creationId xmlns:a16="http://schemas.microsoft.com/office/drawing/2014/main" id="{D7B6E1CC-4CAE-4995-882B-436CBB300CCE}"/>
              </a:ext>
            </a:extLst>
          </p:cNvPr>
          <p:cNvSpPr txBox="1"/>
          <p:nvPr/>
        </p:nvSpPr>
        <p:spPr>
          <a:xfrm>
            <a:off x="5817585" y="4819086"/>
            <a:ext cx="2134870" cy="389255"/>
          </a:xfrm>
          <a:prstGeom prst="rect">
            <a:avLst/>
          </a:prstGeom>
        </p:spPr>
        <p:txBody>
          <a:bodyPr vert="horz" wrap="square" lIns="0" tIns="27940" rIns="0" bIns="0" rtlCol="0">
            <a:spAutoFit/>
          </a:bodyPr>
          <a:lstStyle/>
          <a:p>
            <a:pPr marL="12700" marR="0" lvl="0" indent="0" defTabSz="914400" eaLnBrk="1" fontAlgn="auto" latinLnBrk="0" hangingPunct="1">
              <a:lnSpc>
                <a:spcPct val="100000"/>
              </a:lnSpc>
              <a:spcBef>
                <a:spcPts val="220"/>
              </a:spcBef>
              <a:spcAft>
                <a:spcPts val="0"/>
              </a:spcAft>
              <a:buClrTx/>
              <a:buSzTx/>
              <a:buFontTx/>
              <a:buNone/>
              <a:tabLst/>
              <a:defRPr/>
            </a:pPr>
            <a:r>
              <a:rPr kumimoji="0" sz="1200" b="1" i="0" u="none" strike="noStrike" kern="0" cap="none" spc="-10" normalizeH="0" baseline="0" noProof="0">
                <a:ln>
                  <a:noFill/>
                </a:ln>
                <a:solidFill>
                  <a:srgbClr val="005396"/>
                </a:solidFill>
                <a:effectLst/>
                <a:uLnTx/>
                <a:uFillTx/>
                <a:latin typeface="游ゴシック Medium"/>
                <a:ea typeface="游ゴシック Medium"/>
                <a:cs typeface="YuGothic"/>
              </a:rPr>
              <a:t>Innovation</a:t>
            </a:r>
            <a:endParaRPr kumimoji="0" sz="12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12700" marR="0" lvl="0" indent="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90" normalizeH="0" baseline="0" noProof="0">
                <a:ln>
                  <a:noFill/>
                </a:ln>
                <a:solidFill>
                  <a:srgbClr val="005396"/>
                </a:solidFill>
                <a:effectLst/>
                <a:uLnTx/>
                <a:uFillTx/>
                <a:latin typeface="游ゴシック Medium"/>
                <a:ea typeface="游ゴシック Medium"/>
                <a:cs typeface="YuGothic"/>
              </a:rPr>
              <a:t>(</a:t>
            </a:r>
            <a:r>
              <a:rPr kumimoji="0" lang="ja-JP" altLang="en-US" sz="1000" b="1" i="0" u="none" strike="noStrike" kern="0" cap="none" spc="-90" normalizeH="0" baseline="0" noProof="0" err="1">
                <a:ln>
                  <a:noFill/>
                </a:ln>
                <a:solidFill>
                  <a:srgbClr val="005396"/>
                </a:solidFill>
                <a:effectLst/>
                <a:uLnTx/>
                <a:uFillTx/>
                <a:latin typeface="游ゴシック Medium"/>
                <a:ea typeface="游ゴシック Medium"/>
                <a:cs typeface="YuGothic"/>
              </a:rPr>
              <a:t>海の技術を進化させるイノベーション</a:t>
            </a:r>
            <a:r>
              <a:rPr kumimoji="0" sz="1000" b="1" i="0" u="none" strike="noStrike" kern="0" cap="none" spc="-90" normalizeH="0" baseline="0" noProof="0">
                <a:ln>
                  <a:noFill/>
                </a:ln>
                <a:solidFill>
                  <a:srgbClr val="005396"/>
                </a:solidFill>
                <a:effectLst/>
                <a:uLnTx/>
                <a:uFillTx/>
                <a:latin typeface="游ゴシック Medium"/>
                <a:ea typeface="游ゴシック Medium"/>
                <a:cs typeface="YuGothic"/>
              </a:rPr>
              <a:t>)</a:t>
            </a:r>
            <a:endParaRPr kumimoji="0" sz="1000" b="0" i="0" u="none" strike="noStrike" kern="0" cap="none" spc="0" normalizeH="0" baseline="0" noProof="0">
              <a:ln>
                <a:noFill/>
              </a:ln>
              <a:solidFill>
                <a:srgbClr val="005396"/>
              </a:solidFill>
              <a:effectLst/>
              <a:uLnTx/>
              <a:uFillTx/>
              <a:latin typeface="游ゴシック Medium"/>
              <a:ea typeface="游ゴシック Medium"/>
              <a:cs typeface="YuGothic"/>
            </a:endParaRPr>
          </a:p>
        </p:txBody>
      </p:sp>
      <p:sp>
        <p:nvSpPr>
          <p:cNvPr id="20" name="object 9">
            <a:extLst>
              <a:ext uri="{FF2B5EF4-FFF2-40B4-BE49-F238E27FC236}">
                <a16:creationId xmlns:a16="http://schemas.microsoft.com/office/drawing/2014/main" id="{7CCF9378-26C5-4DC6-A3CF-1081DEE66B78}"/>
              </a:ext>
            </a:extLst>
          </p:cNvPr>
          <p:cNvSpPr txBox="1"/>
          <p:nvPr/>
        </p:nvSpPr>
        <p:spPr>
          <a:xfrm>
            <a:off x="5817585" y="5454626"/>
            <a:ext cx="1745614" cy="568960"/>
          </a:xfrm>
          <a:prstGeom prst="rect">
            <a:avLst/>
          </a:prstGeom>
        </p:spPr>
        <p:txBody>
          <a:bodyPr vert="horz" wrap="square" lIns="0" tIns="27940" rIns="0" bIns="0" rtlCol="0">
            <a:spAutoFit/>
          </a:bodyPr>
          <a:lstStyle/>
          <a:p>
            <a:pPr marL="12700" marR="0" lvl="0" indent="0" defTabSz="914400" eaLnBrk="1" fontAlgn="auto" latinLnBrk="0" hangingPunct="1">
              <a:lnSpc>
                <a:spcPct val="100000"/>
              </a:lnSpc>
              <a:spcBef>
                <a:spcPts val="220"/>
              </a:spcBef>
              <a:spcAft>
                <a:spcPts val="0"/>
              </a:spcAft>
              <a:buClrTx/>
              <a:buSzTx/>
              <a:buFontTx/>
              <a:buNone/>
              <a:tabLst/>
              <a:defRPr/>
            </a:pPr>
            <a:r>
              <a:rPr kumimoji="0" sz="1200" b="1" i="0" u="none" strike="noStrike" kern="0" cap="none" spc="-10" normalizeH="0" baseline="0" noProof="0">
                <a:ln>
                  <a:noFill/>
                </a:ln>
                <a:solidFill>
                  <a:srgbClr val="005396"/>
                </a:solidFill>
                <a:effectLst/>
                <a:uLnTx/>
                <a:uFillTx/>
                <a:latin typeface="游ゴシック Medium"/>
                <a:ea typeface="游ゴシック Medium"/>
                <a:cs typeface="YuGothic"/>
              </a:rPr>
              <a:t>Governance</a:t>
            </a:r>
            <a:endParaRPr kumimoji="0" sz="12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12700" marR="0" lvl="0" indent="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50" normalizeH="0" baseline="0" noProof="0">
                <a:ln>
                  <a:noFill/>
                </a:ln>
                <a:solidFill>
                  <a:srgbClr val="005396"/>
                </a:solidFill>
                <a:effectLst/>
                <a:uLnTx/>
                <a:uFillTx/>
                <a:latin typeface="游ゴシック Medium"/>
                <a:ea typeface="游ゴシック Medium"/>
                <a:cs typeface="YuGothic"/>
              </a:rPr>
              <a:t>(</a:t>
            </a:r>
            <a:r>
              <a:rPr kumimoji="0" lang="ja-JP" altLang="en-US" sz="1000" b="1" i="0" u="none" strike="noStrike" kern="0" cap="none" spc="-50" normalizeH="0" baseline="0" noProof="0" err="1">
                <a:ln>
                  <a:noFill/>
                </a:ln>
                <a:solidFill>
                  <a:srgbClr val="005396"/>
                </a:solidFill>
                <a:effectLst/>
                <a:uLnTx/>
                <a:uFillTx/>
                <a:latin typeface="游ゴシック Medium"/>
                <a:ea typeface="游ゴシック Medium"/>
                <a:cs typeface="YuGothic"/>
              </a:rPr>
              <a:t>事業を支える</a:t>
            </a:r>
            <a:endParaRPr kumimoji="0" sz="10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85090" marR="0" lvl="0" indent="0" defTabSz="914400" eaLnBrk="1" fontAlgn="auto" latinLnBrk="0" hangingPunct="1">
              <a:lnSpc>
                <a:spcPct val="100000"/>
              </a:lnSpc>
              <a:spcBef>
                <a:spcPts val="215"/>
              </a:spcBef>
              <a:spcAft>
                <a:spcPts val="0"/>
              </a:spcAft>
              <a:buClrTx/>
              <a:buSzTx/>
              <a:buFontTx/>
              <a:buNone/>
              <a:tabLst/>
              <a:defRPr/>
            </a:pPr>
            <a:r>
              <a:rPr kumimoji="0" lang="ja-JP" altLang="en-US" sz="1000" b="1" i="0" u="none" strike="noStrike" kern="0" cap="none" spc="-120" normalizeH="0" baseline="0" noProof="0" err="1">
                <a:ln>
                  <a:noFill/>
                </a:ln>
                <a:solidFill>
                  <a:srgbClr val="005396"/>
                </a:solidFill>
                <a:effectLst/>
                <a:uLnTx/>
                <a:uFillTx/>
                <a:latin typeface="游ゴシック Medium"/>
                <a:ea typeface="游ゴシック Medium"/>
                <a:cs typeface="YuGothic"/>
              </a:rPr>
              <a:t>ガバナンス・コンプライアンス</a:t>
            </a:r>
            <a:r>
              <a:rPr kumimoji="0" sz="1000" b="1" i="0" u="none" strike="noStrike" kern="0" cap="none" spc="-120" normalizeH="0" baseline="0" noProof="0">
                <a:ln>
                  <a:noFill/>
                </a:ln>
                <a:solidFill>
                  <a:srgbClr val="005396"/>
                </a:solidFill>
                <a:effectLst/>
                <a:uLnTx/>
                <a:uFillTx/>
                <a:latin typeface="游ゴシック Medium"/>
                <a:ea typeface="游ゴシック Medium"/>
                <a:cs typeface="YuGothic"/>
              </a:rPr>
              <a:t>)</a:t>
            </a:r>
            <a:endParaRPr kumimoji="0" sz="1000" b="0" i="0" u="none" strike="noStrike" kern="0" cap="none" spc="0" normalizeH="0" baseline="0" noProof="0">
              <a:ln>
                <a:noFill/>
              </a:ln>
              <a:solidFill>
                <a:srgbClr val="005396"/>
              </a:solidFill>
              <a:effectLst/>
              <a:uLnTx/>
              <a:uFillTx/>
              <a:latin typeface="游ゴシック Medium"/>
              <a:ea typeface="游ゴシック Medium"/>
              <a:cs typeface="YuGothic"/>
            </a:endParaRPr>
          </a:p>
        </p:txBody>
      </p:sp>
      <p:sp>
        <p:nvSpPr>
          <p:cNvPr id="21" name="object 10">
            <a:extLst>
              <a:ext uri="{FF2B5EF4-FFF2-40B4-BE49-F238E27FC236}">
                <a16:creationId xmlns:a16="http://schemas.microsoft.com/office/drawing/2014/main" id="{40CD4992-C942-4B81-8392-2C63ADEA3A8E}"/>
              </a:ext>
            </a:extLst>
          </p:cNvPr>
          <p:cNvSpPr txBox="1"/>
          <p:nvPr/>
        </p:nvSpPr>
        <p:spPr>
          <a:xfrm>
            <a:off x="8511793" y="4677667"/>
            <a:ext cx="2709671" cy="228268"/>
          </a:xfrm>
          <a:prstGeom prst="rect">
            <a:avLst/>
          </a:prstGeom>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sz="1400" b="1" i="0" u="none" strike="noStrike" kern="0" cap="none" spc="-10" normalizeH="0" baseline="0" noProof="0">
                <a:ln>
                  <a:noFill/>
                </a:ln>
                <a:solidFill>
                  <a:srgbClr val="F4901E"/>
                </a:solidFill>
                <a:effectLst/>
                <a:uLnTx/>
                <a:uFillTx/>
                <a:latin typeface="游ゴシック Medium"/>
                <a:ea typeface="游ゴシック Medium"/>
                <a:cs typeface="YuGothic"/>
              </a:rPr>
              <a:t>Human Capital </a:t>
            </a:r>
            <a:r>
              <a:rPr kumimoji="0" lang="ja-JP" altLang="en-US" sz="1400" b="1" i="0" u="none" strike="noStrike" kern="0" cap="none" spc="-10" normalizeH="0" baseline="0" noProof="0">
                <a:ln>
                  <a:noFill/>
                </a:ln>
                <a:solidFill>
                  <a:srgbClr val="F4901E"/>
                </a:solidFill>
                <a:effectLst/>
                <a:uLnTx/>
                <a:uFillTx/>
                <a:latin typeface="游ゴシック Medium"/>
                <a:ea typeface="游ゴシック Medium"/>
                <a:cs typeface="YuGothic"/>
              </a:rPr>
              <a:t>ビジョン</a:t>
            </a:r>
            <a:endParaRPr kumimoji="0" lang="en-US" sz="1400" b="1" i="0" u="none" strike="noStrike" kern="0" cap="none" spc="-10" normalizeH="0" baseline="0" noProof="0">
              <a:ln>
                <a:noFill/>
              </a:ln>
              <a:solidFill>
                <a:srgbClr val="F4901E"/>
              </a:solidFill>
              <a:effectLst/>
              <a:uLnTx/>
              <a:uFillTx/>
              <a:latin typeface="游ゴシック Medium"/>
              <a:ea typeface="游ゴシック Medium"/>
              <a:cs typeface="YuGothic"/>
            </a:endParaRPr>
          </a:p>
        </p:txBody>
      </p:sp>
      <p:sp>
        <p:nvSpPr>
          <p:cNvPr id="22" name="object 11">
            <a:extLst>
              <a:ext uri="{FF2B5EF4-FFF2-40B4-BE49-F238E27FC236}">
                <a16:creationId xmlns:a16="http://schemas.microsoft.com/office/drawing/2014/main" id="{1CB02389-C51E-4F22-AF57-F9BE4C0C3C1E}"/>
              </a:ext>
            </a:extLst>
          </p:cNvPr>
          <p:cNvSpPr txBox="1"/>
          <p:nvPr/>
        </p:nvSpPr>
        <p:spPr>
          <a:xfrm>
            <a:off x="8520936" y="5251842"/>
            <a:ext cx="2692406" cy="228268"/>
          </a:xfrm>
          <a:prstGeom prst="rect">
            <a:avLst/>
          </a:prstGeom>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sz="1400" b="1" i="0" u="none" strike="noStrike" kern="0" cap="none" spc="-10" normalizeH="0" baseline="0" noProof="0">
                <a:ln>
                  <a:noFill/>
                </a:ln>
                <a:solidFill>
                  <a:srgbClr val="51A01F"/>
                </a:solidFill>
                <a:effectLst/>
                <a:uLnTx/>
                <a:uFillTx/>
                <a:latin typeface="游ゴシック Medium"/>
                <a:ea typeface="游ゴシック Medium"/>
                <a:cs typeface="YuGothic"/>
              </a:rPr>
              <a:t>DX </a:t>
            </a:r>
            <a:r>
              <a:rPr kumimoji="0" lang="ja-JP" altLang="en-US" sz="1400" b="1" i="0" u="none" strike="noStrike" kern="0" cap="none" spc="-10" normalizeH="0" baseline="0" noProof="0">
                <a:ln>
                  <a:noFill/>
                </a:ln>
                <a:solidFill>
                  <a:srgbClr val="51A01F"/>
                </a:solidFill>
                <a:effectLst/>
                <a:uLnTx/>
                <a:uFillTx/>
                <a:latin typeface="游ゴシック Medium"/>
                <a:ea typeface="游ゴシック Medium"/>
                <a:cs typeface="YuGothic"/>
              </a:rPr>
              <a:t>ビジョン</a:t>
            </a:r>
            <a:endParaRPr kumimoji="0" lang="en-US" sz="1400" b="1" i="0" u="none" strike="noStrike" kern="0" cap="none" spc="-10" normalizeH="0" baseline="0" noProof="0">
              <a:ln>
                <a:noFill/>
              </a:ln>
              <a:solidFill>
                <a:srgbClr val="51A01F"/>
              </a:solidFill>
              <a:effectLst/>
              <a:uLnTx/>
              <a:uFillTx/>
              <a:latin typeface="游ゴシック Medium"/>
              <a:ea typeface="游ゴシック Medium"/>
              <a:cs typeface="YuGothic"/>
            </a:endParaRPr>
          </a:p>
        </p:txBody>
      </p:sp>
      <p:sp>
        <p:nvSpPr>
          <p:cNvPr id="23" name="object 12">
            <a:extLst>
              <a:ext uri="{FF2B5EF4-FFF2-40B4-BE49-F238E27FC236}">
                <a16:creationId xmlns:a16="http://schemas.microsoft.com/office/drawing/2014/main" id="{320BC1D5-D79E-42F9-85CE-43D207AB22C8}"/>
              </a:ext>
            </a:extLst>
          </p:cNvPr>
          <p:cNvSpPr txBox="1"/>
          <p:nvPr/>
        </p:nvSpPr>
        <p:spPr>
          <a:xfrm>
            <a:off x="8511793" y="5847222"/>
            <a:ext cx="2709671" cy="197490"/>
          </a:xfrm>
          <a:prstGeom prst="rect">
            <a:avLst/>
          </a:prstGeom>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ja-JP" altLang="en-US" sz="1200" b="1" i="0" u="none" strike="noStrike" kern="0" cap="none" spc="-10" normalizeH="0" baseline="0" noProof="0">
                <a:ln>
                  <a:noFill/>
                </a:ln>
                <a:solidFill>
                  <a:srgbClr val="585858"/>
                </a:solidFill>
                <a:effectLst/>
                <a:uLnTx/>
                <a:uFillTx/>
                <a:latin typeface="游ゴシック Medium"/>
                <a:ea typeface="游ゴシック Medium"/>
                <a:cs typeface="YuGothic"/>
              </a:rPr>
              <a:t>コーポレートガバナンス基本三原則</a:t>
            </a:r>
          </a:p>
        </p:txBody>
      </p:sp>
      <p:pic>
        <p:nvPicPr>
          <p:cNvPr id="24" name="object 20">
            <a:extLst>
              <a:ext uri="{FF2B5EF4-FFF2-40B4-BE49-F238E27FC236}">
                <a16:creationId xmlns:a16="http://schemas.microsoft.com/office/drawing/2014/main" id="{159925B1-848F-46DD-953C-07FA30A86883}"/>
              </a:ext>
            </a:extLst>
          </p:cNvPr>
          <p:cNvPicPr/>
          <p:nvPr/>
        </p:nvPicPr>
        <p:blipFill>
          <a:blip r:embed="rId13" cstate="print">
            <a:extLst>
              <a:ext uri="{28A0092B-C50C-407E-A947-70E740481C1C}">
                <a14:useLocalDpi xmlns:a14="http://schemas.microsoft.com/office/drawing/2010/main"/>
              </a:ext>
            </a:extLst>
          </a:blip>
          <a:stretch>
            <a:fillRect/>
          </a:stretch>
        </p:blipFill>
        <p:spPr>
          <a:xfrm>
            <a:off x="1358137" y="4028211"/>
            <a:ext cx="2862071" cy="725423"/>
          </a:xfrm>
          <a:prstGeom prst="rect">
            <a:avLst/>
          </a:prstGeom>
        </p:spPr>
      </p:pic>
      <p:pic>
        <p:nvPicPr>
          <p:cNvPr id="25" name="object 21">
            <a:extLst>
              <a:ext uri="{FF2B5EF4-FFF2-40B4-BE49-F238E27FC236}">
                <a16:creationId xmlns:a16="http://schemas.microsoft.com/office/drawing/2014/main" id="{056ACB38-6A88-4C2E-91B4-1BE6E3FE2F5C}"/>
              </a:ext>
            </a:extLst>
          </p:cNvPr>
          <p:cNvPicPr/>
          <p:nvPr/>
        </p:nvPicPr>
        <p:blipFill>
          <a:blip r:embed="rId14" cstate="print">
            <a:extLst>
              <a:ext uri="{28A0092B-C50C-407E-A947-70E740481C1C}">
                <a14:useLocalDpi xmlns:a14="http://schemas.microsoft.com/office/drawing/2010/main"/>
              </a:ext>
            </a:extLst>
          </a:blip>
          <a:stretch>
            <a:fillRect/>
          </a:stretch>
        </p:blipFill>
        <p:spPr>
          <a:xfrm>
            <a:off x="8517889" y="3052851"/>
            <a:ext cx="2703575" cy="1383791"/>
          </a:xfrm>
          <a:prstGeom prst="rect">
            <a:avLst/>
          </a:prstGeom>
        </p:spPr>
      </p:pic>
      <p:pic>
        <p:nvPicPr>
          <p:cNvPr id="26" name="object 22">
            <a:extLst>
              <a:ext uri="{FF2B5EF4-FFF2-40B4-BE49-F238E27FC236}">
                <a16:creationId xmlns:a16="http://schemas.microsoft.com/office/drawing/2014/main" id="{2DD1F734-E5A4-49A2-B86A-7FFC6155A6CE}"/>
              </a:ext>
            </a:extLst>
          </p:cNvPr>
          <p:cNvPicPr/>
          <p:nvPr/>
        </p:nvPicPr>
        <p:blipFill>
          <a:blip r:embed="rId15" cstate="print">
            <a:extLst>
              <a:ext uri="{28A0092B-C50C-407E-A947-70E740481C1C}">
                <a14:useLocalDpi xmlns:a14="http://schemas.microsoft.com/office/drawing/2010/main"/>
              </a:ext>
            </a:extLst>
          </a:blip>
          <a:stretch>
            <a:fillRect/>
          </a:stretch>
        </p:blipFill>
        <p:spPr>
          <a:xfrm>
            <a:off x="7926577" y="3449091"/>
            <a:ext cx="594359" cy="274319"/>
          </a:xfrm>
          <a:prstGeom prst="rect">
            <a:avLst/>
          </a:prstGeom>
        </p:spPr>
      </p:pic>
      <p:grpSp>
        <p:nvGrpSpPr>
          <p:cNvPr id="27" name="グループ化 26">
            <a:extLst>
              <a:ext uri="{FF2B5EF4-FFF2-40B4-BE49-F238E27FC236}">
                <a16:creationId xmlns:a16="http://schemas.microsoft.com/office/drawing/2014/main" id="{1538F983-072B-44D3-B6CE-05B4736BAEFD}"/>
              </a:ext>
            </a:extLst>
          </p:cNvPr>
          <p:cNvGrpSpPr/>
          <p:nvPr/>
        </p:nvGrpSpPr>
        <p:grpSpPr>
          <a:xfrm>
            <a:off x="8679433" y="3507003"/>
            <a:ext cx="2380487" cy="527303"/>
            <a:chOff x="8679433" y="3507003"/>
            <a:chExt cx="2380487" cy="527303"/>
          </a:xfrm>
        </p:grpSpPr>
        <p:pic>
          <p:nvPicPr>
            <p:cNvPr id="28" name="object 23">
              <a:extLst>
                <a:ext uri="{FF2B5EF4-FFF2-40B4-BE49-F238E27FC236}">
                  <a16:creationId xmlns:a16="http://schemas.microsoft.com/office/drawing/2014/main" id="{C8A0C560-AA8C-43CE-9F94-3CCEBAED9716}"/>
                </a:ext>
              </a:extLst>
            </p:cNvPr>
            <p:cNvPicPr/>
            <p:nvPr/>
          </p:nvPicPr>
          <p:blipFill>
            <a:blip r:embed="rId16" cstate="print">
              <a:extLst>
                <a:ext uri="{28A0092B-C50C-407E-A947-70E740481C1C}">
                  <a14:useLocalDpi xmlns:a14="http://schemas.microsoft.com/office/drawing/2010/main"/>
                </a:ext>
              </a:extLst>
            </a:blip>
            <a:stretch>
              <a:fillRect/>
            </a:stretch>
          </p:blipFill>
          <p:spPr>
            <a:xfrm>
              <a:off x="8679433" y="3507003"/>
              <a:ext cx="524243" cy="527303"/>
            </a:xfrm>
            <a:prstGeom prst="rect">
              <a:avLst/>
            </a:prstGeom>
          </p:spPr>
        </p:pic>
        <p:pic>
          <p:nvPicPr>
            <p:cNvPr id="29" name="object 24">
              <a:extLst>
                <a:ext uri="{FF2B5EF4-FFF2-40B4-BE49-F238E27FC236}">
                  <a16:creationId xmlns:a16="http://schemas.microsoft.com/office/drawing/2014/main" id="{6AB4234A-1AD9-4479-9439-2BC8F0102A82}"/>
                </a:ext>
              </a:extLst>
            </p:cNvPr>
            <p:cNvPicPr/>
            <p:nvPr/>
          </p:nvPicPr>
          <p:blipFill>
            <a:blip r:embed="rId17" cstate="print">
              <a:extLst>
                <a:ext uri="{28A0092B-C50C-407E-A947-70E740481C1C}">
                  <a14:useLocalDpi xmlns:a14="http://schemas.microsoft.com/office/drawing/2010/main"/>
                </a:ext>
              </a:extLst>
            </a:blip>
            <a:stretch>
              <a:fillRect/>
            </a:stretch>
          </p:blipFill>
          <p:spPr>
            <a:xfrm>
              <a:off x="9295129" y="3507003"/>
              <a:ext cx="527303" cy="527303"/>
            </a:xfrm>
            <a:prstGeom prst="rect">
              <a:avLst/>
            </a:prstGeom>
          </p:spPr>
        </p:pic>
        <p:pic>
          <p:nvPicPr>
            <p:cNvPr id="30" name="object 25">
              <a:extLst>
                <a:ext uri="{FF2B5EF4-FFF2-40B4-BE49-F238E27FC236}">
                  <a16:creationId xmlns:a16="http://schemas.microsoft.com/office/drawing/2014/main" id="{63DA9F7C-36CC-4E2C-B629-152B80CBAEC9}"/>
                </a:ext>
              </a:extLst>
            </p:cNvPr>
            <p:cNvPicPr/>
            <p:nvPr/>
          </p:nvPicPr>
          <p:blipFill>
            <a:blip r:embed="rId18" cstate="print">
              <a:extLst>
                <a:ext uri="{28A0092B-C50C-407E-A947-70E740481C1C}">
                  <a14:useLocalDpi xmlns:a14="http://schemas.microsoft.com/office/drawing/2010/main"/>
                </a:ext>
              </a:extLst>
            </a:blip>
            <a:stretch>
              <a:fillRect/>
            </a:stretch>
          </p:blipFill>
          <p:spPr>
            <a:xfrm>
              <a:off x="9913873" y="3507003"/>
              <a:ext cx="527303" cy="527303"/>
            </a:xfrm>
            <a:prstGeom prst="rect">
              <a:avLst/>
            </a:prstGeom>
          </p:spPr>
        </p:pic>
        <p:pic>
          <p:nvPicPr>
            <p:cNvPr id="31" name="object 26">
              <a:extLst>
                <a:ext uri="{FF2B5EF4-FFF2-40B4-BE49-F238E27FC236}">
                  <a16:creationId xmlns:a16="http://schemas.microsoft.com/office/drawing/2014/main" id="{21D63512-4111-4B6F-BE91-97AA374002D6}"/>
                </a:ext>
              </a:extLst>
            </p:cNvPr>
            <p:cNvPicPr/>
            <p:nvPr/>
          </p:nvPicPr>
          <p:blipFill>
            <a:blip r:embed="rId19" cstate="print">
              <a:extLst>
                <a:ext uri="{28A0092B-C50C-407E-A947-70E740481C1C}">
                  <a14:useLocalDpi xmlns:a14="http://schemas.microsoft.com/office/drawing/2010/main"/>
                </a:ext>
              </a:extLst>
            </a:blip>
            <a:stretch>
              <a:fillRect/>
            </a:stretch>
          </p:blipFill>
          <p:spPr>
            <a:xfrm>
              <a:off x="10532617" y="3507003"/>
              <a:ext cx="527303" cy="527303"/>
            </a:xfrm>
            <a:prstGeom prst="rect">
              <a:avLst/>
            </a:prstGeom>
          </p:spPr>
        </p:pic>
        <p:pic>
          <p:nvPicPr>
            <p:cNvPr id="32" name="object 27">
              <a:extLst>
                <a:ext uri="{FF2B5EF4-FFF2-40B4-BE49-F238E27FC236}">
                  <a16:creationId xmlns:a16="http://schemas.microsoft.com/office/drawing/2014/main" id="{E54134D3-A87A-42FB-8CF6-A65FD4CF9202}"/>
                </a:ext>
              </a:extLst>
            </p:cNvPr>
            <p:cNvPicPr/>
            <p:nvPr/>
          </p:nvPicPr>
          <p:blipFill>
            <a:blip r:embed="rId20" cstate="print">
              <a:extLst>
                <a:ext uri="{28A0092B-C50C-407E-A947-70E740481C1C}">
                  <a14:useLocalDpi xmlns:a14="http://schemas.microsoft.com/office/drawing/2010/main"/>
                </a:ext>
              </a:extLst>
            </a:blip>
            <a:stretch>
              <a:fillRect/>
            </a:stretch>
          </p:blipFill>
          <p:spPr>
            <a:xfrm>
              <a:off x="8780017" y="3610635"/>
              <a:ext cx="320039" cy="320039"/>
            </a:xfrm>
            <a:prstGeom prst="rect">
              <a:avLst/>
            </a:prstGeom>
          </p:spPr>
        </p:pic>
        <p:pic>
          <p:nvPicPr>
            <p:cNvPr id="33" name="object 28">
              <a:extLst>
                <a:ext uri="{FF2B5EF4-FFF2-40B4-BE49-F238E27FC236}">
                  <a16:creationId xmlns:a16="http://schemas.microsoft.com/office/drawing/2014/main" id="{039B032F-5FF0-4DA0-9D5D-6370AA75988C}"/>
                </a:ext>
              </a:extLst>
            </p:cNvPr>
            <p:cNvPicPr/>
            <p:nvPr/>
          </p:nvPicPr>
          <p:blipFill>
            <a:blip r:embed="rId21" cstate="print">
              <a:extLst>
                <a:ext uri="{28A0092B-C50C-407E-A947-70E740481C1C}">
                  <a14:useLocalDpi xmlns:a14="http://schemas.microsoft.com/office/drawing/2010/main"/>
                </a:ext>
              </a:extLst>
            </a:blip>
            <a:stretch>
              <a:fillRect/>
            </a:stretch>
          </p:blipFill>
          <p:spPr>
            <a:xfrm>
              <a:off x="10642345" y="3616731"/>
              <a:ext cx="307847" cy="307847"/>
            </a:xfrm>
            <a:prstGeom prst="rect">
              <a:avLst/>
            </a:prstGeom>
          </p:spPr>
        </p:pic>
        <p:pic>
          <p:nvPicPr>
            <p:cNvPr id="34" name="object 29">
              <a:extLst>
                <a:ext uri="{FF2B5EF4-FFF2-40B4-BE49-F238E27FC236}">
                  <a16:creationId xmlns:a16="http://schemas.microsoft.com/office/drawing/2014/main" id="{AE61359F-5B80-4721-AE40-F6D64E52AAD4}"/>
                </a:ext>
              </a:extLst>
            </p:cNvPr>
            <p:cNvPicPr/>
            <p:nvPr/>
          </p:nvPicPr>
          <p:blipFill>
            <a:blip r:embed="rId22" cstate="print">
              <a:extLst>
                <a:ext uri="{28A0092B-C50C-407E-A947-70E740481C1C}">
                  <a14:useLocalDpi xmlns:a14="http://schemas.microsoft.com/office/drawing/2010/main"/>
                </a:ext>
              </a:extLst>
            </a:blip>
            <a:stretch>
              <a:fillRect/>
            </a:stretch>
          </p:blipFill>
          <p:spPr>
            <a:xfrm>
              <a:off x="9389618" y="3631984"/>
              <a:ext cx="338327" cy="277355"/>
            </a:xfrm>
            <a:prstGeom prst="rect">
              <a:avLst/>
            </a:prstGeom>
          </p:spPr>
        </p:pic>
        <p:pic>
          <p:nvPicPr>
            <p:cNvPr id="35" name="object 30">
              <a:extLst>
                <a:ext uri="{FF2B5EF4-FFF2-40B4-BE49-F238E27FC236}">
                  <a16:creationId xmlns:a16="http://schemas.microsoft.com/office/drawing/2014/main" id="{AE8CA7D7-B203-4CD3-ADFC-0E1368076618}"/>
                </a:ext>
              </a:extLst>
            </p:cNvPr>
            <p:cNvPicPr/>
            <p:nvPr/>
          </p:nvPicPr>
          <p:blipFill>
            <a:blip r:embed="rId23" cstate="print">
              <a:extLst>
                <a:ext uri="{28A0092B-C50C-407E-A947-70E740481C1C}">
                  <a14:useLocalDpi xmlns:a14="http://schemas.microsoft.com/office/drawing/2010/main"/>
                </a:ext>
              </a:extLst>
            </a:blip>
            <a:stretch>
              <a:fillRect/>
            </a:stretch>
          </p:blipFill>
          <p:spPr>
            <a:xfrm>
              <a:off x="10029697" y="3607587"/>
              <a:ext cx="298703" cy="326135"/>
            </a:xfrm>
            <a:prstGeom prst="rect">
              <a:avLst/>
            </a:prstGeom>
          </p:spPr>
        </p:pic>
      </p:grpSp>
      <p:sp>
        <p:nvSpPr>
          <p:cNvPr id="36" name="object 31">
            <a:extLst>
              <a:ext uri="{FF2B5EF4-FFF2-40B4-BE49-F238E27FC236}">
                <a16:creationId xmlns:a16="http://schemas.microsoft.com/office/drawing/2014/main" id="{AC1F51EE-F806-4056-BBB2-928A368D1283}"/>
              </a:ext>
            </a:extLst>
          </p:cNvPr>
          <p:cNvSpPr txBox="1"/>
          <p:nvPr/>
        </p:nvSpPr>
        <p:spPr>
          <a:xfrm>
            <a:off x="8583737" y="3186050"/>
            <a:ext cx="2574290" cy="228268"/>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130" normalizeH="0" baseline="0" noProof="0">
                <a:ln>
                  <a:noFill/>
                </a:ln>
                <a:solidFill>
                  <a:srgbClr val="00A69A"/>
                </a:solidFill>
                <a:effectLst/>
                <a:uLnTx/>
                <a:uFillTx/>
                <a:latin typeface="游ゴシック Medium"/>
                <a:ea typeface="游ゴシック Medium"/>
                <a:cs typeface="YuGothic"/>
              </a:rPr>
              <a:t>商船三井グループ環境ビジョン</a:t>
            </a:r>
            <a:r>
              <a:rPr kumimoji="0" sz="1400" b="1" i="0" u="none" strike="noStrike" kern="0" cap="none" spc="-25" normalizeH="0" baseline="0" noProof="0">
                <a:ln>
                  <a:noFill/>
                </a:ln>
                <a:solidFill>
                  <a:srgbClr val="00A69A"/>
                </a:solidFill>
                <a:effectLst/>
                <a:uLnTx/>
                <a:uFillTx/>
                <a:latin typeface="游ゴシック Medium"/>
                <a:ea typeface="游ゴシック Medium"/>
                <a:cs typeface="YuGothic"/>
              </a:rPr>
              <a:t>2.2</a:t>
            </a:r>
            <a:endParaRPr kumimoji="0" sz="1400" b="0" i="0" u="none" strike="noStrike" kern="0" cap="none" spc="0" normalizeH="0" baseline="0" noProof="0">
              <a:ln>
                <a:noFill/>
              </a:ln>
              <a:solidFill>
                <a:sysClr val="windowText" lastClr="000000"/>
              </a:solidFill>
              <a:effectLst/>
              <a:uLnTx/>
              <a:uFillTx/>
              <a:latin typeface="游ゴシック Medium"/>
              <a:ea typeface="游ゴシック Medium"/>
              <a:cs typeface="YuGothic"/>
            </a:endParaRPr>
          </a:p>
        </p:txBody>
      </p:sp>
      <p:sp>
        <p:nvSpPr>
          <p:cNvPr id="37" name="object 32">
            <a:extLst>
              <a:ext uri="{FF2B5EF4-FFF2-40B4-BE49-F238E27FC236}">
                <a16:creationId xmlns:a16="http://schemas.microsoft.com/office/drawing/2014/main" id="{CF616898-12F2-4240-8B17-7F7DE09444FE}"/>
              </a:ext>
            </a:extLst>
          </p:cNvPr>
          <p:cNvSpPr txBox="1"/>
          <p:nvPr/>
        </p:nvSpPr>
        <p:spPr>
          <a:xfrm>
            <a:off x="8723169" y="4049198"/>
            <a:ext cx="2289810" cy="270139"/>
          </a:xfrm>
          <a:prstGeom prst="rect">
            <a:avLst/>
          </a:prstGeom>
        </p:spPr>
        <p:txBody>
          <a:bodyPr vert="horz" wrap="square" lIns="0" tIns="12700" rIns="0" bIns="0" rtlCol="0">
            <a:spAutoFit/>
          </a:bodyPr>
          <a:lstStyle/>
          <a:p>
            <a:pPr marL="114935" marR="5080" lvl="0" indent="-102870" defTabSz="914400" eaLnBrk="1" fontAlgn="auto" latinLnBrk="0" hangingPunct="1">
              <a:lnSpc>
                <a:spcPct val="105800"/>
              </a:lnSpc>
              <a:spcBef>
                <a:spcPts val="100"/>
              </a:spcBef>
              <a:spcAft>
                <a:spcPts val="0"/>
              </a:spcAft>
              <a:buClrTx/>
              <a:buSzTx/>
              <a:buFontTx/>
              <a:buNone/>
              <a:tabLst>
                <a:tab pos="631190" algn="l"/>
                <a:tab pos="733425" algn="l"/>
                <a:tab pos="1200785" algn="l"/>
                <a:tab pos="1351915" algn="l"/>
                <a:tab pos="1868170" algn="l"/>
                <a:tab pos="1972310" algn="l"/>
              </a:tabLst>
              <a:defRPr/>
            </a:pPr>
            <a:r>
              <a:rPr kumimoji="0" sz="800" b="0" i="0" u="none" strike="noStrike" kern="0" cap="none" spc="-10" normalizeH="0" baseline="0" noProof="0" err="1">
                <a:ln>
                  <a:noFill/>
                </a:ln>
                <a:solidFill>
                  <a:srgbClr val="00A69A"/>
                </a:solidFill>
                <a:effectLst/>
                <a:uLnTx/>
                <a:uFillTx/>
                <a:latin typeface="游ゴシック Medium"/>
                <a:ea typeface="游ゴシック Medium"/>
                <a:cs typeface="YuGo-Medium"/>
              </a:rPr>
              <a:t>気</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候変</a:t>
            </a:r>
            <a:r>
              <a:rPr kumimoji="0" sz="800" b="0" i="0" u="none" strike="noStrike" kern="0" cap="none" spc="-60" normalizeH="0" baseline="0" noProof="0" err="1">
                <a:ln>
                  <a:noFill/>
                </a:ln>
                <a:solidFill>
                  <a:srgbClr val="00A69A"/>
                </a:solidFill>
                <a:effectLst/>
                <a:uLnTx/>
                <a:uFillTx/>
                <a:latin typeface="游ゴシック Medium"/>
                <a:ea typeface="游ゴシック Medium"/>
                <a:cs typeface="YuGo-Medium"/>
              </a:rPr>
              <a:t>動</a:t>
            </a:r>
            <a:r>
              <a:rPr kumimoji="0" sz="800" b="0" i="0" u="none" strike="noStrike" kern="0" cap="none" spc="0" normalizeH="0" baseline="0" noProof="0">
                <a:ln>
                  <a:noFill/>
                </a:ln>
                <a:solidFill>
                  <a:srgbClr val="00A69A"/>
                </a:solidFill>
                <a:effectLst/>
                <a:uLnTx/>
                <a:uFillTx/>
                <a:latin typeface="游ゴシック Medium"/>
                <a:ea typeface="游ゴシック Medium"/>
                <a:cs typeface="YuGo-Medium"/>
              </a:rPr>
              <a:t>	</a:t>
            </a:r>
            <a:r>
              <a:rPr kumimoji="0" sz="800" b="0" i="0" u="none" strike="noStrike" kern="0" cap="none" spc="-20" normalizeH="0" baseline="0" noProof="0" err="1">
                <a:ln>
                  <a:noFill/>
                </a:ln>
                <a:solidFill>
                  <a:srgbClr val="00A69A"/>
                </a:solidFill>
                <a:effectLst/>
                <a:uLnTx/>
                <a:uFillTx/>
                <a:latin typeface="游ゴシック Medium"/>
                <a:ea typeface="游ゴシック Medium"/>
                <a:cs typeface="YuGo-Medium"/>
              </a:rPr>
              <a:t>海</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洋環</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境</a:t>
            </a:r>
            <a:r>
              <a:rPr kumimoji="0" sz="800" b="0" i="0" u="none" strike="noStrike" kern="0" cap="none" spc="0" normalizeH="0" baseline="0" noProof="0">
                <a:ln>
                  <a:noFill/>
                </a:ln>
                <a:solidFill>
                  <a:srgbClr val="00A69A"/>
                </a:solidFill>
                <a:effectLst/>
                <a:uLnTx/>
                <a:uFillTx/>
                <a:latin typeface="游ゴシック Medium"/>
                <a:ea typeface="游ゴシック Medium"/>
                <a:cs typeface="YuGo-Medium"/>
              </a:rPr>
              <a:t>	</a:t>
            </a:r>
            <a:r>
              <a:rPr kumimoji="0" sz="800" b="0" i="0" u="none" strike="noStrike" kern="0" cap="none" spc="-20" normalizeH="0" baseline="0" noProof="0" err="1">
                <a:ln>
                  <a:noFill/>
                </a:ln>
                <a:solidFill>
                  <a:srgbClr val="00A69A"/>
                </a:solidFill>
                <a:effectLst/>
                <a:uLnTx/>
                <a:uFillTx/>
                <a:latin typeface="游ゴシック Medium"/>
                <a:ea typeface="游ゴシック Medium"/>
                <a:cs typeface="YuGo-Medium"/>
              </a:rPr>
              <a:t>生</a:t>
            </a:r>
            <a:r>
              <a:rPr kumimoji="0" sz="800" b="0" i="0" u="none" strike="noStrike" kern="0" cap="none" spc="-10" normalizeH="0" baseline="0" noProof="0" err="1">
                <a:ln>
                  <a:noFill/>
                </a:ln>
                <a:solidFill>
                  <a:srgbClr val="00A69A"/>
                </a:solidFill>
                <a:effectLst/>
                <a:uLnTx/>
                <a:uFillTx/>
                <a:latin typeface="游ゴシック Medium"/>
                <a:ea typeface="游ゴシック Medium"/>
                <a:cs typeface="YuGo-Medium"/>
              </a:rPr>
              <a:t>物多</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様</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性</a:t>
            </a:r>
            <a:r>
              <a:rPr kumimoji="0" sz="800" b="0" i="0" u="none" strike="noStrike" kern="0" cap="none" spc="0" normalizeH="0" baseline="0" noProof="0">
                <a:ln>
                  <a:noFill/>
                </a:ln>
                <a:solidFill>
                  <a:srgbClr val="00A69A"/>
                </a:solidFill>
                <a:effectLst/>
                <a:uLnTx/>
                <a:uFillTx/>
                <a:latin typeface="游ゴシック Medium"/>
                <a:ea typeface="游ゴシック Medium"/>
                <a:cs typeface="YuGo-Medium"/>
              </a:rPr>
              <a:t>	</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大気</a:t>
            </a:r>
            <a:r>
              <a:rPr kumimoji="0" sz="800" b="0" i="0" u="none" strike="noStrike" kern="0" cap="none" spc="-10" normalizeH="0" baseline="0" noProof="0" err="1">
                <a:ln>
                  <a:noFill/>
                </a:ln>
                <a:solidFill>
                  <a:srgbClr val="00A69A"/>
                </a:solidFill>
                <a:effectLst/>
                <a:uLnTx/>
                <a:uFillTx/>
                <a:latin typeface="游ゴシック Medium"/>
                <a:ea typeface="游ゴシック Medium"/>
                <a:cs typeface="YuGo-Medium"/>
              </a:rPr>
              <a:t>汚</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染</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対</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策</a:t>
            </a:r>
            <a:r>
              <a:rPr kumimoji="0" sz="800" b="0" i="0" u="none" strike="noStrike" kern="0" cap="none" spc="0" normalizeH="0" baseline="0" noProof="0">
                <a:ln>
                  <a:noFill/>
                </a:ln>
                <a:solidFill>
                  <a:srgbClr val="00A69A"/>
                </a:solidFill>
                <a:effectLst/>
                <a:uLnTx/>
                <a:uFillTx/>
                <a:latin typeface="游ゴシック Medium"/>
                <a:ea typeface="游ゴシック Medium"/>
                <a:cs typeface="YuGo-Medium"/>
              </a:rPr>
              <a:t>		</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保</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全</a:t>
            </a:r>
            <a:r>
              <a:rPr kumimoji="0" sz="800" b="0" i="0" u="none" strike="noStrike" kern="0" cap="none" spc="0" normalizeH="0" baseline="0" noProof="0">
                <a:ln>
                  <a:noFill/>
                </a:ln>
                <a:solidFill>
                  <a:srgbClr val="00A69A"/>
                </a:solidFill>
                <a:effectLst/>
                <a:uLnTx/>
                <a:uFillTx/>
                <a:latin typeface="游ゴシック Medium"/>
                <a:ea typeface="游ゴシック Medium"/>
                <a:cs typeface="YuGo-Medium"/>
              </a:rPr>
              <a:t>		</a:t>
            </a:r>
            <a:r>
              <a:rPr kumimoji="0" sz="800" b="0" i="0" u="none" strike="noStrike" kern="0" cap="none" spc="0" normalizeH="0" baseline="0" noProof="0" err="1">
                <a:ln>
                  <a:noFill/>
                </a:ln>
                <a:solidFill>
                  <a:srgbClr val="00A69A"/>
                </a:solidFill>
                <a:effectLst/>
                <a:uLnTx/>
                <a:uFillTx/>
                <a:latin typeface="游ゴシック Medium"/>
                <a:ea typeface="游ゴシック Medium"/>
                <a:cs typeface="YuGo-Medium"/>
              </a:rPr>
              <a:t>保</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護</a:t>
            </a:r>
            <a:r>
              <a:rPr kumimoji="0" sz="800" b="0" i="0" u="none" strike="noStrike" kern="0" cap="none" spc="0" normalizeH="0" baseline="0" noProof="0">
                <a:ln>
                  <a:noFill/>
                </a:ln>
                <a:solidFill>
                  <a:srgbClr val="00A69A"/>
                </a:solidFill>
                <a:effectLst/>
                <a:uLnTx/>
                <a:uFillTx/>
                <a:latin typeface="游ゴシック Medium"/>
                <a:ea typeface="游ゴシック Medium"/>
                <a:cs typeface="YuGo-Medium"/>
              </a:rPr>
              <a:t>		</a:t>
            </a:r>
            <a:r>
              <a:rPr kumimoji="0" sz="800" b="0" i="0" u="none" strike="noStrike" kern="0" cap="none" spc="-25" normalizeH="0" baseline="0" noProof="0" err="1">
                <a:ln>
                  <a:noFill/>
                </a:ln>
                <a:solidFill>
                  <a:srgbClr val="00A69A"/>
                </a:solidFill>
                <a:effectLst/>
                <a:uLnTx/>
                <a:uFillTx/>
                <a:latin typeface="游ゴシック Medium"/>
                <a:ea typeface="游ゴシック Medium"/>
                <a:cs typeface="YuGo-Medium"/>
              </a:rPr>
              <a:t>防</a:t>
            </a:r>
            <a:r>
              <a:rPr kumimoji="0" sz="800" b="0" i="0" u="none" strike="noStrike" kern="0" cap="none" spc="-50" normalizeH="0" baseline="0" noProof="0" err="1">
                <a:ln>
                  <a:noFill/>
                </a:ln>
                <a:solidFill>
                  <a:srgbClr val="00A69A"/>
                </a:solidFill>
                <a:effectLst/>
                <a:uLnTx/>
                <a:uFillTx/>
                <a:latin typeface="游ゴシック Medium"/>
                <a:ea typeface="游ゴシック Medium"/>
                <a:cs typeface="YuGo-Medium"/>
              </a:rPr>
              <a:t>止</a:t>
            </a:r>
            <a:endParaRPr kumimoji="0" sz="800" b="0" i="0" u="none" strike="noStrike" kern="0" cap="none" spc="0" normalizeH="0" baseline="0" noProof="0">
              <a:ln>
                <a:noFill/>
              </a:ln>
              <a:solidFill>
                <a:sysClr val="windowText" lastClr="000000"/>
              </a:solidFill>
              <a:effectLst/>
              <a:uLnTx/>
              <a:uFillTx/>
              <a:latin typeface="游ゴシック Medium"/>
              <a:ea typeface="游ゴシック Medium"/>
              <a:cs typeface="YuGo-Medium"/>
            </a:endParaRPr>
          </a:p>
        </p:txBody>
      </p:sp>
      <p:grpSp>
        <p:nvGrpSpPr>
          <p:cNvPr id="38" name="object 33">
            <a:extLst>
              <a:ext uri="{FF2B5EF4-FFF2-40B4-BE49-F238E27FC236}">
                <a16:creationId xmlns:a16="http://schemas.microsoft.com/office/drawing/2014/main" id="{1EE661AE-7F30-49D7-97C2-231EAB69F2C8}"/>
              </a:ext>
            </a:extLst>
          </p:cNvPr>
          <p:cNvGrpSpPr/>
          <p:nvPr/>
        </p:nvGrpSpPr>
        <p:grpSpPr>
          <a:xfrm>
            <a:off x="5168138" y="2562136"/>
            <a:ext cx="607060" cy="3523615"/>
            <a:chOff x="5168138" y="2562136"/>
            <a:chExt cx="607060" cy="3523615"/>
          </a:xfrm>
        </p:grpSpPr>
        <p:pic>
          <p:nvPicPr>
            <p:cNvPr id="39" name="object 34">
              <a:extLst>
                <a:ext uri="{FF2B5EF4-FFF2-40B4-BE49-F238E27FC236}">
                  <a16:creationId xmlns:a16="http://schemas.microsoft.com/office/drawing/2014/main" id="{6C6A3D9B-555E-4A8F-B59A-F6C1384DF229}"/>
                </a:ext>
              </a:extLst>
            </p:cNvPr>
            <p:cNvPicPr/>
            <p:nvPr/>
          </p:nvPicPr>
          <p:blipFill>
            <a:blip r:embed="rId24" cstate="print">
              <a:extLst>
                <a:ext uri="{28A0092B-C50C-407E-A947-70E740481C1C}">
                  <a14:useLocalDpi xmlns:a14="http://schemas.microsoft.com/office/drawing/2010/main"/>
                </a:ext>
              </a:extLst>
            </a:blip>
            <a:stretch>
              <a:fillRect/>
            </a:stretch>
          </p:blipFill>
          <p:spPr>
            <a:xfrm>
              <a:off x="5168138" y="3293643"/>
              <a:ext cx="606539" cy="603503"/>
            </a:xfrm>
            <a:prstGeom prst="rect">
              <a:avLst/>
            </a:prstGeom>
          </p:spPr>
        </p:pic>
        <p:pic>
          <p:nvPicPr>
            <p:cNvPr id="40" name="object 35">
              <a:extLst>
                <a:ext uri="{FF2B5EF4-FFF2-40B4-BE49-F238E27FC236}">
                  <a16:creationId xmlns:a16="http://schemas.microsoft.com/office/drawing/2014/main" id="{9EE73378-2821-4458-AA2E-089D18D8CB99}"/>
                </a:ext>
              </a:extLst>
            </p:cNvPr>
            <p:cNvPicPr/>
            <p:nvPr/>
          </p:nvPicPr>
          <p:blipFill>
            <a:blip r:embed="rId25" cstate="print">
              <a:extLst>
                <a:ext uri="{28A0092B-C50C-407E-A947-70E740481C1C}">
                  <a14:useLocalDpi xmlns:a14="http://schemas.microsoft.com/office/drawing/2010/main"/>
                </a:ext>
              </a:extLst>
            </a:blip>
            <a:stretch>
              <a:fillRect/>
            </a:stretch>
          </p:blipFill>
          <p:spPr>
            <a:xfrm>
              <a:off x="5168138" y="4022115"/>
              <a:ext cx="606539" cy="603503"/>
            </a:xfrm>
            <a:prstGeom prst="rect">
              <a:avLst/>
            </a:prstGeom>
          </p:spPr>
        </p:pic>
        <p:pic>
          <p:nvPicPr>
            <p:cNvPr id="41" name="object 36">
              <a:extLst>
                <a:ext uri="{FF2B5EF4-FFF2-40B4-BE49-F238E27FC236}">
                  <a16:creationId xmlns:a16="http://schemas.microsoft.com/office/drawing/2014/main" id="{EC87F578-3678-4B88-9A60-61E82F62E644}"/>
                </a:ext>
              </a:extLst>
            </p:cNvPr>
            <p:cNvPicPr/>
            <p:nvPr/>
          </p:nvPicPr>
          <p:blipFill>
            <a:blip r:embed="rId26" cstate="print">
              <a:extLst>
                <a:ext uri="{28A0092B-C50C-407E-A947-70E740481C1C}">
                  <a14:useLocalDpi xmlns:a14="http://schemas.microsoft.com/office/drawing/2010/main"/>
                </a:ext>
              </a:extLst>
            </a:blip>
            <a:stretch>
              <a:fillRect/>
            </a:stretch>
          </p:blipFill>
          <p:spPr>
            <a:xfrm>
              <a:off x="5168138" y="2562136"/>
              <a:ext cx="606539" cy="606539"/>
            </a:xfrm>
            <a:prstGeom prst="rect">
              <a:avLst/>
            </a:prstGeom>
          </p:spPr>
        </p:pic>
        <p:pic>
          <p:nvPicPr>
            <p:cNvPr id="42" name="object 37">
              <a:extLst>
                <a:ext uri="{FF2B5EF4-FFF2-40B4-BE49-F238E27FC236}">
                  <a16:creationId xmlns:a16="http://schemas.microsoft.com/office/drawing/2014/main" id="{EED6258F-2B3C-4794-9010-861125731428}"/>
                </a:ext>
              </a:extLst>
            </p:cNvPr>
            <p:cNvPicPr/>
            <p:nvPr/>
          </p:nvPicPr>
          <p:blipFill>
            <a:blip r:embed="rId27" cstate="print">
              <a:extLst>
                <a:ext uri="{28A0092B-C50C-407E-A947-70E740481C1C}">
                  <a14:useLocalDpi xmlns:a14="http://schemas.microsoft.com/office/drawing/2010/main"/>
                </a:ext>
              </a:extLst>
            </a:blip>
            <a:stretch>
              <a:fillRect/>
            </a:stretch>
          </p:blipFill>
          <p:spPr>
            <a:xfrm>
              <a:off x="5168138" y="4750587"/>
              <a:ext cx="606539" cy="606551"/>
            </a:xfrm>
            <a:prstGeom prst="rect">
              <a:avLst/>
            </a:prstGeom>
          </p:spPr>
        </p:pic>
        <p:pic>
          <p:nvPicPr>
            <p:cNvPr id="43" name="object 38">
              <a:extLst>
                <a:ext uri="{FF2B5EF4-FFF2-40B4-BE49-F238E27FC236}">
                  <a16:creationId xmlns:a16="http://schemas.microsoft.com/office/drawing/2014/main" id="{4EFA7B1C-5A0C-447E-BFAE-F8FF46F6A1ED}"/>
                </a:ext>
              </a:extLst>
            </p:cNvPr>
            <p:cNvPicPr/>
            <p:nvPr/>
          </p:nvPicPr>
          <p:blipFill>
            <a:blip r:embed="rId28" cstate="print">
              <a:extLst>
                <a:ext uri="{28A0092B-C50C-407E-A947-70E740481C1C}">
                  <a14:useLocalDpi xmlns:a14="http://schemas.microsoft.com/office/drawing/2010/main"/>
                </a:ext>
              </a:extLst>
            </a:blip>
            <a:stretch>
              <a:fillRect/>
            </a:stretch>
          </p:blipFill>
          <p:spPr>
            <a:xfrm>
              <a:off x="5168138" y="5479071"/>
              <a:ext cx="606539" cy="606539"/>
            </a:xfrm>
            <a:prstGeom prst="rect">
              <a:avLst/>
            </a:prstGeom>
          </p:spPr>
        </p:pic>
      </p:grpSp>
      <p:sp>
        <p:nvSpPr>
          <p:cNvPr id="44" name="テキスト ボックス 43">
            <a:extLst>
              <a:ext uri="{FF2B5EF4-FFF2-40B4-BE49-F238E27FC236}">
                <a16:creationId xmlns:a16="http://schemas.microsoft.com/office/drawing/2014/main" id="{CBD5BFB9-B63D-49B7-AA9C-0DD69853750A}"/>
              </a:ext>
            </a:extLst>
          </p:cNvPr>
          <p:cNvSpPr txBox="1"/>
          <p:nvPr/>
        </p:nvSpPr>
        <p:spPr>
          <a:xfrm>
            <a:off x="5738738" y="4112002"/>
            <a:ext cx="1967738" cy="443711"/>
          </a:xfrm>
          <a:prstGeom prst="rect">
            <a:avLst/>
          </a:prstGeom>
          <a:noFill/>
        </p:spPr>
        <p:txBody>
          <a:bodyPr wrap="square">
            <a:spAutoFit/>
          </a:bodyPr>
          <a:lstStyle/>
          <a:p>
            <a:pPr marL="12700" marR="0" lvl="0" indent="0" defTabSz="914400" eaLnBrk="1" fontAlgn="auto" latinLnBrk="0" hangingPunct="1">
              <a:lnSpc>
                <a:spcPct val="100000"/>
              </a:lnSpc>
              <a:spcBef>
                <a:spcPts val="5"/>
              </a:spcBef>
              <a:spcAft>
                <a:spcPts val="0"/>
              </a:spcAft>
              <a:buClrTx/>
              <a:buSzTx/>
              <a:buFontTx/>
              <a:buNone/>
              <a:tabLst/>
              <a:defRPr/>
            </a:pPr>
            <a:r>
              <a:rPr kumimoji="0" lang="en-US" altLang="ja-JP" sz="1200" b="1" i="0" u="none" strike="noStrike" kern="0" cap="none" spc="-10" normalizeH="0" baseline="0" noProof="0">
                <a:ln>
                  <a:noFill/>
                </a:ln>
                <a:solidFill>
                  <a:srgbClr val="005396"/>
                </a:solidFill>
                <a:effectLst/>
                <a:uLnTx/>
                <a:uFillTx/>
                <a:latin typeface="游ゴシック Medium"/>
                <a:ea typeface="游ゴシック Medium"/>
                <a:cs typeface="YuGothic"/>
              </a:rPr>
              <a:t>Human</a:t>
            </a:r>
            <a:r>
              <a:rPr kumimoji="0" lang="ja-JP" altLang="en-US" sz="1200" b="1" i="0" u="none" strike="noStrike" kern="0" cap="none" spc="-10" normalizeH="0" baseline="0" noProof="0">
                <a:ln>
                  <a:noFill/>
                </a:ln>
                <a:solidFill>
                  <a:srgbClr val="005396"/>
                </a:solidFill>
                <a:effectLst/>
                <a:uLnTx/>
                <a:uFillTx/>
                <a:latin typeface="游ゴシック Medium"/>
                <a:ea typeface="游ゴシック Medium"/>
                <a:cs typeface="YuGothic"/>
              </a:rPr>
              <a:t> </a:t>
            </a:r>
            <a:r>
              <a:rPr kumimoji="0" lang="en-US" altLang="ja-JP" sz="1200" b="1" i="0" u="none" strike="noStrike" kern="0" cap="none" spc="-10" normalizeH="0" baseline="0" noProof="0">
                <a:ln>
                  <a:noFill/>
                </a:ln>
                <a:solidFill>
                  <a:srgbClr val="005396"/>
                </a:solidFill>
                <a:effectLst/>
                <a:uLnTx/>
                <a:uFillTx/>
                <a:latin typeface="游ゴシック Medium"/>
                <a:ea typeface="游ゴシック Medium"/>
                <a:cs typeface="YuGothic"/>
              </a:rPr>
              <a:t>&amp; Community</a:t>
            </a:r>
            <a:endParaRPr kumimoji="0" lang="en-US" altLang="ja-JP" sz="12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12700" marR="0" lvl="0" indent="0" defTabSz="914400" eaLnBrk="1" fontAlgn="auto" latinLnBrk="0" hangingPunct="1">
              <a:lnSpc>
                <a:spcPct val="100000"/>
              </a:lnSpc>
              <a:spcBef>
                <a:spcPts val="100"/>
              </a:spcBef>
              <a:spcAft>
                <a:spcPts val="0"/>
              </a:spcAft>
              <a:buClrTx/>
              <a:buSzTx/>
              <a:buFontTx/>
              <a:buNone/>
              <a:tabLst/>
              <a:defRPr/>
            </a:pPr>
            <a:r>
              <a:rPr kumimoji="0" lang="en-US" altLang="ja-JP" sz="1000" b="1" i="0" u="none" strike="noStrike" kern="0" cap="none" spc="-45" normalizeH="0" baseline="0" noProof="0">
                <a:ln>
                  <a:noFill/>
                </a:ln>
                <a:solidFill>
                  <a:srgbClr val="005396"/>
                </a:solidFill>
                <a:effectLst/>
                <a:uLnTx/>
                <a:uFillTx/>
                <a:latin typeface="游ゴシック Medium"/>
                <a:ea typeface="游ゴシック Medium"/>
                <a:cs typeface="YuGothic"/>
              </a:rPr>
              <a:t>(</a:t>
            </a:r>
            <a:r>
              <a:rPr kumimoji="0" lang="ja-JP" altLang="en-US" sz="1000" b="1" i="0" u="none" strike="noStrike" kern="0" cap="none" spc="-45" normalizeH="0" baseline="0" noProof="0">
                <a:ln>
                  <a:noFill/>
                </a:ln>
                <a:solidFill>
                  <a:srgbClr val="005396"/>
                </a:solidFill>
                <a:effectLst/>
                <a:uLnTx/>
                <a:uFillTx/>
                <a:latin typeface="游ゴシック Medium"/>
                <a:ea typeface="游ゴシック Medium"/>
                <a:cs typeface="YuGothic"/>
              </a:rPr>
              <a:t>人の活躍と地域社会の発展</a:t>
            </a:r>
            <a:r>
              <a:rPr kumimoji="0" lang="en-US" altLang="ja-JP" sz="1000" b="1" i="0" u="none" strike="noStrike" kern="0" cap="none" spc="-45" normalizeH="0" baseline="0" noProof="0">
                <a:ln>
                  <a:noFill/>
                </a:ln>
                <a:solidFill>
                  <a:srgbClr val="005396"/>
                </a:solidFill>
                <a:effectLst/>
                <a:uLnTx/>
                <a:uFillTx/>
                <a:latin typeface="游ゴシック Medium"/>
                <a:ea typeface="游ゴシック Medium"/>
                <a:cs typeface="YuGothic"/>
              </a:rPr>
              <a:t>)</a:t>
            </a:r>
            <a:endParaRPr kumimoji="0" lang="ja-JP" altLang="en-US" sz="1000" b="0" i="0" u="none" strike="noStrike" kern="0" cap="none" spc="0" normalizeH="0" baseline="0" noProof="0">
              <a:ln>
                <a:noFill/>
              </a:ln>
              <a:solidFill>
                <a:srgbClr val="005396"/>
              </a:solidFill>
              <a:effectLst/>
              <a:uLnTx/>
              <a:uFillTx/>
              <a:latin typeface="游ゴシック Medium"/>
              <a:ea typeface="游ゴシック Medium"/>
              <a:cs typeface="YuGothic"/>
            </a:endParaRPr>
          </a:p>
        </p:txBody>
      </p:sp>
      <p:sp>
        <p:nvSpPr>
          <p:cNvPr id="45" name="テキスト ボックス 44">
            <a:extLst>
              <a:ext uri="{FF2B5EF4-FFF2-40B4-BE49-F238E27FC236}">
                <a16:creationId xmlns:a16="http://schemas.microsoft.com/office/drawing/2014/main" id="{DD8B4A60-A3F3-4FB0-B498-E2016C9E9717}"/>
              </a:ext>
            </a:extLst>
          </p:cNvPr>
          <p:cNvSpPr txBox="1"/>
          <p:nvPr/>
        </p:nvSpPr>
        <p:spPr>
          <a:xfrm>
            <a:off x="5766816" y="3324933"/>
            <a:ext cx="2187193" cy="582211"/>
          </a:xfrm>
          <a:prstGeom prst="rect">
            <a:avLst/>
          </a:prstGeom>
          <a:noFill/>
        </p:spPr>
        <p:txBody>
          <a:bodyPr wrap="square">
            <a:spAutoFit/>
          </a:bodyPr>
          <a:lstStyle/>
          <a:p>
            <a:pPr marL="12700" marR="0" lvl="0" indent="0" defTabSz="914400" eaLnBrk="1" fontAlgn="auto" latinLnBrk="0" hangingPunct="1">
              <a:lnSpc>
                <a:spcPct val="100000"/>
              </a:lnSpc>
              <a:spcBef>
                <a:spcPts val="0"/>
              </a:spcBef>
              <a:spcAft>
                <a:spcPts val="0"/>
              </a:spcAft>
              <a:buClrTx/>
              <a:buSzTx/>
              <a:buFontTx/>
              <a:buNone/>
              <a:tabLst/>
              <a:defRPr/>
            </a:pPr>
            <a:r>
              <a:rPr kumimoji="0" lang="en-US" altLang="ja-JP" sz="1700" b="1" i="0" u="none" strike="noStrike" kern="0" cap="none" spc="0" normalizeH="0" baseline="0" noProof="0">
                <a:ln>
                  <a:noFill/>
                </a:ln>
                <a:solidFill>
                  <a:srgbClr val="005396"/>
                </a:solidFill>
                <a:effectLst/>
                <a:uLnTx/>
                <a:uFillTx/>
                <a:latin typeface="游ゴシック Medium"/>
                <a:ea typeface="游ゴシック Medium"/>
                <a:cs typeface="YuGothic"/>
              </a:rPr>
              <a:t>Environment</a:t>
            </a:r>
            <a:endParaRPr kumimoji="0" lang="en-US" altLang="ja-JP" sz="1700" b="0" i="0" u="none" strike="noStrike" kern="0" cap="none" spc="0" normalizeH="0" baseline="0" noProof="0">
              <a:ln>
                <a:noFill/>
              </a:ln>
              <a:solidFill>
                <a:srgbClr val="005396"/>
              </a:solidFill>
              <a:effectLst/>
              <a:uLnTx/>
              <a:uFillTx/>
              <a:latin typeface="游ゴシック Medium"/>
              <a:ea typeface="游ゴシック Medium"/>
              <a:cs typeface="YuGothic"/>
            </a:endParaRPr>
          </a:p>
          <a:p>
            <a:pPr marL="12700" marR="0" lvl="0" indent="0" defTabSz="914400" eaLnBrk="1" fontAlgn="auto" latinLnBrk="0" hangingPunct="1">
              <a:lnSpc>
                <a:spcPct val="100000"/>
              </a:lnSpc>
              <a:spcBef>
                <a:spcPts val="145"/>
              </a:spcBef>
              <a:spcAft>
                <a:spcPts val="0"/>
              </a:spcAft>
              <a:buClrTx/>
              <a:buSzTx/>
              <a:buFontTx/>
              <a:buNone/>
              <a:tabLst/>
              <a:defRPr/>
            </a:pPr>
            <a:r>
              <a:rPr kumimoji="0" lang="en-US" altLang="ja-JP" sz="1400" b="1" i="0" u="none" strike="noStrike" kern="0" cap="none" spc="0" normalizeH="0" baseline="0" noProof="0">
                <a:ln>
                  <a:noFill/>
                </a:ln>
                <a:solidFill>
                  <a:srgbClr val="005396"/>
                </a:solidFill>
                <a:effectLst/>
                <a:uLnTx/>
                <a:uFillTx/>
                <a:latin typeface="游ゴシック Medium"/>
                <a:ea typeface="游ゴシック Medium"/>
                <a:cs typeface="YuGothic"/>
              </a:rPr>
              <a:t>(</a:t>
            </a:r>
            <a:r>
              <a:rPr kumimoji="0" lang="ja-JP" altLang="en-US" sz="1400" b="1" i="0" u="none" strike="noStrike" kern="0" cap="none" spc="0" normalizeH="0" baseline="0" noProof="0">
                <a:ln>
                  <a:noFill/>
                </a:ln>
                <a:solidFill>
                  <a:srgbClr val="005396"/>
                </a:solidFill>
                <a:effectLst/>
                <a:uLnTx/>
                <a:uFillTx/>
                <a:latin typeface="游ゴシック Medium"/>
                <a:ea typeface="游ゴシック Medium"/>
                <a:cs typeface="YuGothic"/>
              </a:rPr>
              <a:t>海洋・地球環境の保全</a:t>
            </a:r>
            <a:r>
              <a:rPr kumimoji="0" lang="en-US" altLang="ja-JP" sz="1400" b="1" i="0" u="none" strike="noStrike" kern="0" cap="none" spc="0" normalizeH="0" baseline="0" noProof="0">
                <a:ln>
                  <a:noFill/>
                </a:ln>
                <a:solidFill>
                  <a:srgbClr val="005396"/>
                </a:solidFill>
                <a:effectLst/>
                <a:uLnTx/>
                <a:uFillTx/>
                <a:latin typeface="游ゴシック Medium"/>
                <a:ea typeface="游ゴシック Medium"/>
                <a:cs typeface="YuGothic"/>
              </a:rPr>
              <a:t>)</a:t>
            </a:r>
            <a:endParaRPr kumimoji="0" lang="ja-JP" altLang="en-US" sz="1400" b="0" i="0" u="none" strike="noStrike" kern="0" cap="none" spc="0" normalizeH="0" baseline="0" noProof="0">
              <a:ln>
                <a:noFill/>
              </a:ln>
              <a:solidFill>
                <a:srgbClr val="005396"/>
              </a:solidFill>
              <a:effectLst/>
              <a:uLnTx/>
              <a:uFillTx/>
              <a:latin typeface="游ゴシック Medium"/>
              <a:ea typeface="游ゴシック Medium"/>
              <a:cs typeface="YuGothic"/>
            </a:endParaRPr>
          </a:p>
        </p:txBody>
      </p:sp>
      <p:sp>
        <p:nvSpPr>
          <p:cNvPr id="46" name="テキスト ボックス 45">
            <a:extLst>
              <a:ext uri="{FF2B5EF4-FFF2-40B4-BE49-F238E27FC236}">
                <a16:creationId xmlns:a16="http://schemas.microsoft.com/office/drawing/2014/main" id="{532279F7-6780-4935-B926-CB68DE2F558B}"/>
              </a:ext>
            </a:extLst>
          </p:cNvPr>
          <p:cNvSpPr txBox="1"/>
          <p:nvPr/>
        </p:nvSpPr>
        <p:spPr>
          <a:xfrm>
            <a:off x="953988" y="2248974"/>
            <a:ext cx="3656366" cy="215765"/>
          </a:xfrm>
          <a:prstGeom prst="rect">
            <a:avLst/>
          </a:prstGeom>
          <a:noFill/>
        </p:spPr>
        <p:txBody>
          <a:bodyPr wrap="square" lIns="0" tIns="0" rIns="0" bIns="0" rtlCol="0">
            <a:spAutoFit/>
          </a:bodyPr>
          <a:lstStyle/>
          <a:p>
            <a:pPr marL="0" marR="0" lvl="0" indent="0" algn="ctr" defTabSz="914400" rtl="0" eaLnBrk="1" fontAlgn="auto" latinLnBrk="0" hangingPunct="1">
              <a:lnSpc>
                <a:spcPct val="125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5396"/>
                </a:solidFill>
                <a:effectLst/>
                <a:uLnTx/>
                <a:uFillTx/>
                <a:latin typeface="游ゴシック Medium"/>
                <a:ea typeface="游ゴシック Medium"/>
                <a:cs typeface="+mn-cs"/>
              </a:rPr>
              <a:t>サステナビリティ経営の全体像</a:t>
            </a:r>
            <a:endParaRPr kumimoji="1" lang="en-US" altLang="ja-JP" sz="1200" b="0" i="0" u="none" strike="noStrike" kern="1200" cap="none" spc="0" normalizeH="0" baseline="0" noProof="0">
              <a:ln>
                <a:noFill/>
              </a:ln>
              <a:solidFill>
                <a:srgbClr val="005396"/>
              </a:solidFill>
              <a:effectLst/>
              <a:uLnTx/>
              <a:uFillTx/>
              <a:latin typeface="游ゴシック Medium"/>
              <a:ea typeface="游ゴシック Medium"/>
              <a:cs typeface="+mn-cs"/>
            </a:endParaRPr>
          </a:p>
        </p:txBody>
      </p:sp>
      <p:sp>
        <p:nvSpPr>
          <p:cNvPr id="47" name="矢印: 五方向 46">
            <a:extLst>
              <a:ext uri="{FF2B5EF4-FFF2-40B4-BE49-F238E27FC236}">
                <a16:creationId xmlns:a16="http://schemas.microsoft.com/office/drawing/2014/main" id="{81432887-3389-4952-93C1-4D7C33FCE730}"/>
              </a:ext>
            </a:extLst>
          </p:cNvPr>
          <p:cNvSpPr/>
          <p:nvPr/>
        </p:nvSpPr>
        <p:spPr>
          <a:xfrm>
            <a:off x="10642886" y="296225"/>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4</a:t>
            </a:r>
            <a:endPar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48" name="矢印: 五方向 47">
            <a:extLst>
              <a:ext uri="{FF2B5EF4-FFF2-40B4-BE49-F238E27FC236}">
                <a16:creationId xmlns:a16="http://schemas.microsoft.com/office/drawing/2014/main" id="{DB3AC72A-86C8-40B6-A85B-E572C0F82073}"/>
              </a:ext>
            </a:extLst>
          </p:cNvPr>
          <p:cNvSpPr/>
          <p:nvPr/>
        </p:nvSpPr>
        <p:spPr>
          <a:xfrm>
            <a:off x="10163578" y="296225"/>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3</a:t>
            </a:r>
            <a:endPar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49" name="矢印: 五方向 48">
            <a:extLst>
              <a:ext uri="{FF2B5EF4-FFF2-40B4-BE49-F238E27FC236}">
                <a16:creationId xmlns:a16="http://schemas.microsoft.com/office/drawing/2014/main" id="{17FC6E49-0FCB-4A14-BF56-0787D8B77E62}"/>
              </a:ext>
            </a:extLst>
          </p:cNvPr>
          <p:cNvSpPr/>
          <p:nvPr/>
        </p:nvSpPr>
        <p:spPr>
          <a:xfrm>
            <a:off x="9684269" y="296225"/>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FFFFFF"/>
                </a:solidFill>
                <a:effectLst/>
                <a:uLnTx/>
                <a:uFillTx/>
                <a:latin typeface="Segoe UI"/>
                <a:ea typeface="游ゴシック Medium"/>
                <a:cs typeface="+mn-cs"/>
              </a:rPr>
              <a:t>2</a:t>
            </a:r>
            <a:endParaRPr kumimoji="1" lang="ja-JP" altLang="en-US" sz="1400" b="0" i="0" u="none" strike="noStrike" kern="0" cap="none" spc="0" normalizeH="0" baseline="0" noProof="0" dirty="0">
              <a:ln>
                <a:noFill/>
              </a:ln>
              <a:solidFill>
                <a:srgbClr val="FFFFFF"/>
              </a:solidFill>
              <a:effectLst/>
              <a:uLnTx/>
              <a:uFillTx/>
              <a:latin typeface="Segoe UI"/>
              <a:ea typeface="游ゴシック Medium"/>
              <a:cs typeface="+mn-cs"/>
            </a:endParaRPr>
          </a:p>
        </p:txBody>
      </p:sp>
      <p:sp>
        <p:nvSpPr>
          <p:cNvPr id="52" name="矢印: 五方向 51">
            <a:extLst>
              <a:ext uri="{FF2B5EF4-FFF2-40B4-BE49-F238E27FC236}">
                <a16:creationId xmlns:a16="http://schemas.microsoft.com/office/drawing/2014/main" id="{C2FCEBB2-9864-4ED3-BD2E-3187CF86D6F8}"/>
              </a:ext>
            </a:extLst>
          </p:cNvPr>
          <p:cNvSpPr/>
          <p:nvPr/>
        </p:nvSpPr>
        <p:spPr>
          <a:xfrm>
            <a:off x="6194323" y="296225"/>
            <a:ext cx="3627634" cy="329877"/>
          </a:xfrm>
          <a:prstGeom prst="homePlate">
            <a:avLst/>
          </a:prstGeom>
          <a:gradFill flip="none" rotWithShape="1">
            <a:gsLst>
              <a:gs pos="0">
                <a:schemeClr val="accent1">
                  <a:lumMod val="5000"/>
                  <a:lumOff val="95000"/>
                </a:schemeClr>
              </a:gs>
              <a:gs pos="24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1.</a:t>
            </a: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環境課題解決に向けたコミットメント</a:t>
            </a:r>
          </a:p>
        </p:txBody>
      </p:sp>
    </p:spTree>
    <p:extLst>
      <p:ext uri="{BB962C8B-B14F-4D97-AF65-F5344CB8AC3E}">
        <p14:creationId xmlns:p14="http://schemas.microsoft.com/office/powerpoint/2010/main" val="4122815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object 18">
            <a:extLst>
              <a:ext uri="{FF2B5EF4-FFF2-40B4-BE49-F238E27FC236}">
                <a16:creationId xmlns:a16="http://schemas.microsoft.com/office/drawing/2014/main" id="{3E855B3A-195E-EDA4-27B9-D19D78C6F7F9}"/>
              </a:ext>
            </a:extLst>
          </p:cNvPr>
          <p:cNvPicPr/>
          <p:nvPr/>
        </p:nvPicPr>
        <p:blipFill>
          <a:blip r:embed="rId4" cstate="print">
            <a:extLst>
              <a:ext uri="{28A0092B-C50C-407E-A947-70E740481C1C}">
                <a14:useLocalDpi xmlns:a14="http://schemas.microsoft.com/office/drawing/2010/main"/>
              </a:ext>
            </a:extLst>
          </a:blip>
          <a:stretch>
            <a:fillRect/>
          </a:stretch>
        </p:blipFill>
        <p:spPr>
          <a:xfrm>
            <a:off x="317" y="0"/>
            <a:ext cx="12192876" cy="1437195"/>
          </a:xfrm>
          <a:prstGeom prst="rect">
            <a:avLst/>
          </a:prstGeom>
        </p:spPr>
      </p:pic>
      <p:graphicFrame>
        <p:nvGraphicFramePr>
          <p:cNvPr id="21" name="オブジェクト 20" hidden="1">
            <a:extLst>
              <a:ext uri="{FF2B5EF4-FFF2-40B4-BE49-F238E27FC236}">
                <a16:creationId xmlns:a16="http://schemas.microsoft.com/office/drawing/2014/main" id="{96C27361-80D6-4B77-8A45-330A23A516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473" imgH="476" progId="TCLayout.ActiveDocument.1">
                  <p:embed/>
                </p:oleObj>
              </mc:Choice>
              <mc:Fallback>
                <p:oleObj name="think-cell スライド" r:id="rId5" imgW="473" imgH="476" progId="TCLayout.ActiveDocument.1">
                  <p:embed/>
                  <p:pic>
                    <p:nvPicPr>
                      <p:cNvPr id="21" name="オブジェクト 20" hidden="1">
                        <a:extLst>
                          <a:ext uri="{FF2B5EF4-FFF2-40B4-BE49-F238E27FC236}">
                            <a16:creationId xmlns:a16="http://schemas.microsoft.com/office/drawing/2014/main" id="{96C27361-80D6-4B77-8A45-330A23A516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テキスト ボックス 2">
            <a:extLst>
              <a:ext uri="{FF2B5EF4-FFF2-40B4-BE49-F238E27FC236}">
                <a16:creationId xmlns:a16="http://schemas.microsoft.com/office/drawing/2014/main" id="{4574862B-9641-418F-BEA9-532D8A5626BE}"/>
              </a:ext>
            </a:extLst>
          </p:cNvPr>
          <p:cNvSpPr txBox="1"/>
          <p:nvPr/>
        </p:nvSpPr>
        <p:spPr>
          <a:xfrm>
            <a:off x="0" y="11489"/>
            <a:ext cx="12194958" cy="1620000"/>
          </a:xfrm>
          <a:prstGeom prst="rect">
            <a:avLst/>
          </a:prstGeom>
          <a:solidFill>
            <a:srgbClr val="00A69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a:ln>
                <a:noFill/>
              </a:ln>
              <a:solidFill>
                <a:srgbClr val="FFFF00"/>
              </a:solidFill>
              <a:effectLst/>
              <a:uLnTx/>
              <a:uFillTx/>
              <a:latin typeface="游ゴシック Medium" panose="020B0500000000000000" pitchFamily="50" charset="-128"/>
              <a:ea typeface="游ゴシック Medium" panose="020B0500000000000000" pitchFamily="50" charset="-128"/>
              <a:cs typeface="+mn-cs"/>
              <a:sym typeface="Meiryo UI" panose="020B0604030504040204" pitchFamily="50" charset="-12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2000" b="1" i="0" u="none" strike="noStrike" kern="1200" cap="none" spc="0" normalizeH="0" baseline="0" noProof="0">
              <a:ln>
                <a:noFill/>
              </a:ln>
              <a:solidFill>
                <a:srgbClr val="FFFF00"/>
              </a:solidFill>
              <a:effectLst/>
              <a:uLnTx/>
              <a:uFillTx/>
              <a:latin typeface="游ゴシック Medium" panose="020B0500000000000000" pitchFamily="50" charset="-128"/>
              <a:ea typeface="游ゴシック Medium" panose="020B0500000000000000" pitchFamily="50" charset="-128"/>
              <a:cs typeface="+mn-cs"/>
              <a:sym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n-cs"/>
              <a:sym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n-cs"/>
              <a:sym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600" b="0" i="0" u="none" strike="noStrike" kern="120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n-cs"/>
              <a:sym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120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n-cs"/>
              <a:sym typeface="Meiryo UI" panose="020B0604030504040204" pitchFamily="50" charset="-128"/>
            </a:endParaRPr>
          </a:p>
        </p:txBody>
      </p:sp>
      <p:sp>
        <p:nvSpPr>
          <p:cNvPr id="5" name="タイトル 1">
            <a:extLst>
              <a:ext uri="{FF2B5EF4-FFF2-40B4-BE49-F238E27FC236}">
                <a16:creationId xmlns:a16="http://schemas.microsoft.com/office/drawing/2014/main" id="{1897FC48-9515-409A-B364-2E3A38ED1141}"/>
              </a:ext>
            </a:extLst>
          </p:cNvPr>
          <p:cNvSpPr txBox="1">
            <a:spLocks/>
          </p:cNvSpPr>
          <p:nvPr/>
        </p:nvSpPr>
        <p:spPr>
          <a:xfrm>
            <a:off x="89492" y="124125"/>
            <a:ext cx="11529616" cy="492443"/>
          </a:xfrm>
          <a:prstGeom prst="rect">
            <a:avLst/>
          </a:prstGeom>
        </p:spPr>
        <p:txBody>
          <a:bodyPr vert="horz"/>
          <a:lstStyle>
            <a:lvl1pPr>
              <a:defRPr>
                <a:latin typeface="+mj-lt"/>
                <a:ea typeface="+mj-ea"/>
                <a:cs typeface="+mj-cs"/>
              </a:defRPr>
            </a:lvl1pPr>
          </a:lstStyle>
          <a:p>
            <a:pPr marL="0" marR="0" lvl="0" indent="0" algn="l" defTabSz="914400" eaLnBrk="1" fontAlgn="auto" latinLnBrk="0" hangingPunct="1">
              <a:lnSpc>
                <a:spcPct val="100000"/>
              </a:lnSpc>
              <a:spcBef>
                <a:spcPts val="0"/>
              </a:spcBef>
              <a:spcAft>
                <a:spcPts val="0"/>
              </a:spcAft>
              <a:buClrTx/>
              <a:buSzTx/>
              <a:buFontTx/>
              <a:buNone/>
              <a:tabLst/>
              <a:defRPr/>
            </a:pPr>
            <a:r>
              <a:rPr kumimoji="1" lang="ja-JP" altLang="en-US" sz="3200" b="1" i="0" u="none" strike="noStrike" kern="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j-cs"/>
              </a:rPr>
              <a:t>商船三井グループ 環境ビジョン</a:t>
            </a:r>
            <a:r>
              <a:rPr kumimoji="1" lang="en-US" altLang="ja-JP" sz="3200" b="1" i="0" u="none" strike="noStrike" kern="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j-cs"/>
              </a:rPr>
              <a:t>2.2</a:t>
            </a:r>
            <a:endParaRPr kumimoji="1" lang="ja-JP" altLang="en-US" sz="3200" b="1" i="0" u="none" strike="noStrike" kern="0" cap="none" spc="0" normalizeH="0" baseline="0" noProof="0">
              <a:ln>
                <a:noFill/>
              </a:ln>
              <a:solidFill>
                <a:prstClr val="white"/>
              </a:solidFill>
              <a:effectLst/>
              <a:uLnTx/>
              <a:uFillTx/>
              <a:latin typeface="游ゴシック Medium" panose="020B0500000000000000" pitchFamily="50" charset="-128"/>
              <a:ea typeface="游ゴシック Medium" panose="020B0500000000000000" pitchFamily="50" charset="-128"/>
              <a:cs typeface="+mj-cs"/>
            </a:endParaRPr>
          </a:p>
        </p:txBody>
      </p:sp>
      <p:pic>
        <p:nvPicPr>
          <p:cNvPr id="7" name="図 6">
            <a:extLst>
              <a:ext uri="{FF2B5EF4-FFF2-40B4-BE49-F238E27FC236}">
                <a16:creationId xmlns:a16="http://schemas.microsoft.com/office/drawing/2014/main" id="{AF13E4D6-4464-4AC0-AE69-9285782FF297}"/>
              </a:ext>
            </a:extLst>
          </p:cNvPr>
          <p:cNvPicPr>
            <a:picLocks noChangeAspect="1"/>
          </p:cNvPicPr>
          <p:nvPr/>
        </p:nvPicPr>
        <p:blipFill>
          <a:blip r:embed="rId7"/>
          <a:stretch>
            <a:fillRect/>
          </a:stretch>
        </p:blipFill>
        <p:spPr>
          <a:xfrm>
            <a:off x="7556018" y="97340"/>
            <a:ext cx="2705478" cy="552527"/>
          </a:xfrm>
          <a:prstGeom prst="rect">
            <a:avLst/>
          </a:prstGeom>
        </p:spPr>
      </p:pic>
      <p:pic>
        <p:nvPicPr>
          <p:cNvPr id="2" name="object 3">
            <a:extLst>
              <a:ext uri="{FF2B5EF4-FFF2-40B4-BE49-F238E27FC236}">
                <a16:creationId xmlns:a16="http://schemas.microsoft.com/office/drawing/2014/main" id="{3BF40C84-58F3-0F44-44E4-29662828B6E1}"/>
              </a:ext>
            </a:extLst>
          </p:cNvPr>
          <p:cNvPicPr/>
          <p:nvPr/>
        </p:nvPicPr>
        <p:blipFill>
          <a:blip r:embed="rId8" cstate="print">
            <a:extLst>
              <a:ext uri="{28A0092B-C50C-407E-A947-70E740481C1C}">
                <a14:useLocalDpi xmlns:a14="http://schemas.microsoft.com/office/drawing/2010/main"/>
              </a:ext>
            </a:extLst>
          </a:blip>
          <a:stretch>
            <a:fillRect/>
          </a:stretch>
        </p:blipFill>
        <p:spPr>
          <a:xfrm>
            <a:off x="317" y="1434160"/>
            <a:ext cx="12192876" cy="3090662"/>
          </a:xfrm>
          <a:prstGeom prst="rect">
            <a:avLst/>
          </a:prstGeom>
        </p:spPr>
      </p:pic>
      <p:pic>
        <p:nvPicPr>
          <p:cNvPr id="4" name="object 4">
            <a:extLst>
              <a:ext uri="{FF2B5EF4-FFF2-40B4-BE49-F238E27FC236}">
                <a16:creationId xmlns:a16="http://schemas.microsoft.com/office/drawing/2014/main" id="{BD856CB6-E0B8-0AC1-742B-95066F5061D7}"/>
              </a:ext>
            </a:extLst>
          </p:cNvPr>
          <p:cNvPicPr/>
          <p:nvPr/>
        </p:nvPicPr>
        <p:blipFill>
          <a:blip r:embed="rId9" cstate="print">
            <a:extLst>
              <a:ext uri="{28A0092B-C50C-407E-A947-70E740481C1C}">
                <a14:useLocalDpi xmlns:a14="http://schemas.microsoft.com/office/drawing/2010/main"/>
              </a:ext>
            </a:extLst>
          </a:blip>
          <a:stretch>
            <a:fillRect/>
          </a:stretch>
        </p:blipFill>
        <p:spPr>
          <a:xfrm>
            <a:off x="289877" y="3610432"/>
            <a:ext cx="2133597" cy="786374"/>
          </a:xfrm>
          <a:prstGeom prst="rect">
            <a:avLst/>
          </a:prstGeom>
        </p:spPr>
      </p:pic>
      <p:pic>
        <p:nvPicPr>
          <p:cNvPr id="6" name="object 5">
            <a:extLst>
              <a:ext uri="{FF2B5EF4-FFF2-40B4-BE49-F238E27FC236}">
                <a16:creationId xmlns:a16="http://schemas.microsoft.com/office/drawing/2014/main" id="{E80DF83B-201D-7DB3-CB73-DDC94C676631}"/>
              </a:ext>
            </a:extLst>
          </p:cNvPr>
          <p:cNvPicPr/>
          <p:nvPr/>
        </p:nvPicPr>
        <p:blipFill>
          <a:blip r:embed="rId10" cstate="print">
            <a:extLst>
              <a:ext uri="{28A0092B-C50C-407E-A947-70E740481C1C}">
                <a14:useLocalDpi xmlns:a14="http://schemas.microsoft.com/office/drawing/2010/main"/>
              </a:ext>
            </a:extLst>
          </a:blip>
          <a:stretch>
            <a:fillRect/>
          </a:stretch>
        </p:blipFill>
        <p:spPr>
          <a:xfrm>
            <a:off x="2597213" y="3610432"/>
            <a:ext cx="2130549" cy="786374"/>
          </a:xfrm>
          <a:prstGeom prst="rect">
            <a:avLst/>
          </a:prstGeom>
        </p:spPr>
      </p:pic>
      <p:pic>
        <p:nvPicPr>
          <p:cNvPr id="8" name="object 6">
            <a:extLst>
              <a:ext uri="{FF2B5EF4-FFF2-40B4-BE49-F238E27FC236}">
                <a16:creationId xmlns:a16="http://schemas.microsoft.com/office/drawing/2014/main" id="{B5272778-3B97-8881-3B60-9678151E02AD}"/>
              </a:ext>
            </a:extLst>
          </p:cNvPr>
          <p:cNvPicPr/>
          <p:nvPr/>
        </p:nvPicPr>
        <p:blipFill>
          <a:blip r:embed="rId11" cstate="print">
            <a:extLst>
              <a:ext uri="{28A0092B-C50C-407E-A947-70E740481C1C}">
                <a14:useLocalDpi xmlns:a14="http://schemas.microsoft.com/office/drawing/2010/main"/>
              </a:ext>
            </a:extLst>
          </a:blip>
          <a:stretch>
            <a:fillRect/>
          </a:stretch>
        </p:blipFill>
        <p:spPr>
          <a:xfrm>
            <a:off x="4901501" y="3610432"/>
            <a:ext cx="2133587" cy="786374"/>
          </a:xfrm>
          <a:prstGeom prst="rect">
            <a:avLst/>
          </a:prstGeom>
        </p:spPr>
      </p:pic>
      <p:pic>
        <p:nvPicPr>
          <p:cNvPr id="9" name="object 7">
            <a:extLst>
              <a:ext uri="{FF2B5EF4-FFF2-40B4-BE49-F238E27FC236}">
                <a16:creationId xmlns:a16="http://schemas.microsoft.com/office/drawing/2014/main" id="{979ED694-1483-86E5-3DE6-535D3D7A6E85}"/>
              </a:ext>
            </a:extLst>
          </p:cNvPr>
          <p:cNvPicPr/>
          <p:nvPr/>
        </p:nvPicPr>
        <p:blipFill>
          <a:blip r:embed="rId12" cstate="print">
            <a:extLst>
              <a:ext uri="{28A0092B-C50C-407E-A947-70E740481C1C}">
                <a14:useLocalDpi xmlns:a14="http://schemas.microsoft.com/office/drawing/2010/main"/>
              </a:ext>
            </a:extLst>
          </a:blip>
          <a:stretch>
            <a:fillRect/>
          </a:stretch>
        </p:blipFill>
        <p:spPr>
          <a:xfrm>
            <a:off x="7205789" y="3610432"/>
            <a:ext cx="2133587" cy="786374"/>
          </a:xfrm>
          <a:prstGeom prst="rect">
            <a:avLst/>
          </a:prstGeom>
        </p:spPr>
      </p:pic>
      <p:pic>
        <p:nvPicPr>
          <p:cNvPr id="10" name="object 8">
            <a:extLst>
              <a:ext uri="{FF2B5EF4-FFF2-40B4-BE49-F238E27FC236}">
                <a16:creationId xmlns:a16="http://schemas.microsoft.com/office/drawing/2014/main" id="{6EB30097-8034-7136-D8A2-63E87A99F1A3}"/>
              </a:ext>
            </a:extLst>
          </p:cNvPr>
          <p:cNvPicPr/>
          <p:nvPr/>
        </p:nvPicPr>
        <p:blipFill>
          <a:blip r:embed="rId13" cstate="print">
            <a:extLst>
              <a:ext uri="{28A0092B-C50C-407E-A947-70E740481C1C}">
                <a14:useLocalDpi xmlns:a14="http://schemas.microsoft.com/office/drawing/2010/main"/>
              </a:ext>
            </a:extLst>
          </a:blip>
          <a:stretch>
            <a:fillRect/>
          </a:stretch>
        </p:blipFill>
        <p:spPr>
          <a:xfrm>
            <a:off x="9513125" y="3610432"/>
            <a:ext cx="2133597" cy="786374"/>
          </a:xfrm>
          <a:prstGeom prst="rect">
            <a:avLst/>
          </a:prstGeom>
        </p:spPr>
      </p:pic>
      <p:pic>
        <p:nvPicPr>
          <p:cNvPr id="11" name="object 9">
            <a:extLst>
              <a:ext uri="{FF2B5EF4-FFF2-40B4-BE49-F238E27FC236}">
                <a16:creationId xmlns:a16="http://schemas.microsoft.com/office/drawing/2014/main" id="{31ABD34E-0EAD-23FE-D3B1-6BD49D9E5422}"/>
              </a:ext>
            </a:extLst>
          </p:cNvPr>
          <p:cNvPicPr/>
          <p:nvPr/>
        </p:nvPicPr>
        <p:blipFill>
          <a:blip r:embed="rId14" cstate="print">
            <a:extLst>
              <a:ext uri="{28A0092B-C50C-407E-A947-70E740481C1C}">
                <a14:useLocalDpi xmlns:a14="http://schemas.microsoft.com/office/drawing/2010/main"/>
              </a:ext>
            </a:extLst>
          </a:blip>
          <a:stretch>
            <a:fillRect/>
          </a:stretch>
        </p:blipFill>
        <p:spPr>
          <a:xfrm>
            <a:off x="2603306" y="5018598"/>
            <a:ext cx="2133599" cy="1286255"/>
          </a:xfrm>
          <a:prstGeom prst="rect">
            <a:avLst/>
          </a:prstGeom>
        </p:spPr>
      </p:pic>
      <p:pic>
        <p:nvPicPr>
          <p:cNvPr id="12" name="object 10">
            <a:extLst>
              <a:ext uri="{FF2B5EF4-FFF2-40B4-BE49-F238E27FC236}">
                <a16:creationId xmlns:a16="http://schemas.microsoft.com/office/drawing/2014/main" id="{F1A90101-BF2A-00E9-9DDE-FD990A6C6152}"/>
              </a:ext>
            </a:extLst>
          </p:cNvPr>
          <p:cNvPicPr/>
          <p:nvPr/>
        </p:nvPicPr>
        <p:blipFill>
          <a:blip r:embed="rId15" cstate="print">
            <a:extLst>
              <a:ext uri="{28A0092B-C50C-407E-A947-70E740481C1C}">
                <a14:useLocalDpi xmlns:a14="http://schemas.microsoft.com/office/drawing/2010/main"/>
              </a:ext>
            </a:extLst>
          </a:blip>
          <a:stretch>
            <a:fillRect/>
          </a:stretch>
        </p:blipFill>
        <p:spPr>
          <a:xfrm>
            <a:off x="4910642" y="5018598"/>
            <a:ext cx="2130551" cy="1286255"/>
          </a:xfrm>
          <a:prstGeom prst="rect">
            <a:avLst/>
          </a:prstGeom>
        </p:spPr>
      </p:pic>
      <p:pic>
        <p:nvPicPr>
          <p:cNvPr id="13" name="object 11">
            <a:extLst>
              <a:ext uri="{FF2B5EF4-FFF2-40B4-BE49-F238E27FC236}">
                <a16:creationId xmlns:a16="http://schemas.microsoft.com/office/drawing/2014/main" id="{042EE893-EB74-91D6-CE2D-326B83EA0B2E}"/>
              </a:ext>
            </a:extLst>
          </p:cNvPr>
          <p:cNvPicPr/>
          <p:nvPr/>
        </p:nvPicPr>
        <p:blipFill>
          <a:blip r:embed="rId16" cstate="print">
            <a:extLst>
              <a:ext uri="{28A0092B-C50C-407E-A947-70E740481C1C}">
                <a14:useLocalDpi xmlns:a14="http://schemas.microsoft.com/office/drawing/2010/main"/>
              </a:ext>
            </a:extLst>
          </a:blip>
          <a:stretch>
            <a:fillRect/>
          </a:stretch>
        </p:blipFill>
        <p:spPr>
          <a:xfrm>
            <a:off x="7214930" y="5018598"/>
            <a:ext cx="2130551" cy="1286255"/>
          </a:xfrm>
          <a:prstGeom prst="rect">
            <a:avLst/>
          </a:prstGeom>
        </p:spPr>
      </p:pic>
      <p:pic>
        <p:nvPicPr>
          <p:cNvPr id="14" name="object 12">
            <a:extLst>
              <a:ext uri="{FF2B5EF4-FFF2-40B4-BE49-F238E27FC236}">
                <a16:creationId xmlns:a16="http://schemas.microsoft.com/office/drawing/2014/main" id="{318472F2-C68E-EFB0-6B8E-0355557658FA}"/>
              </a:ext>
            </a:extLst>
          </p:cNvPr>
          <p:cNvPicPr/>
          <p:nvPr/>
        </p:nvPicPr>
        <p:blipFill>
          <a:blip r:embed="rId17" cstate="print">
            <a:extLst>
              <a:ext uri="{28A0092B-C50C-407E-A947-70E740481C1C}">
                <a14:useLocalDpi xmlns:a14="http://schemas.microsoft.com/office/drawing/2010/main"/>
              </a:ext>
            </a:extLst>
          </a:blip>
          <a:stretch>
            <a:fillRect/>
          </a:stretch>
        </p:blipFill>
        <p:spPr>
          <a:xfrm>
            <a:off x="9519221" y="5018598"/>
            <a:ext cx="2133587" cy="1286252"/>
          </a:xfrm>
          <a:prstGeom prst="rect">
            <a:avLst/>
          </a:prstGeom>
        </p:spPr>
      </p:pic>
      <p:pic>
        <p:nvPicPr>
          <p:cNvPr id="15" name="object 13">
            <a:extLst>
              <a:ext uri="{FF2B5EF4-FFF2-40B4-BE49-F238E27FC236}">
                <a16:creationId xmlns:a16="http://schemas.microsoft.com/office/drawing/2014/main" id="{953D005E-F740-BB2D-75D5-24584ECBC83F}"/>
              </a:ext>
            </a:extLst>
          </p:cNvPr>
          <p:cNvPicPr/>
          <p:nvPr/>
        </p:nvPicPr>
        <p:blipFill>
          <a:blip r:embed="rId18" cstate="print">
            <a:extLst>
              <a:ext uri="{28A0092B-C50C-407E-A947-70E740481C1C}">
                <a14:useLocalDpi xmlns:a14="http://schemas.microsoft.com/office/drawing/2010/main"/>
              </a:ext>
            </a:extLst>
          </a:blip>
          <a:stretch>
            <a:fillRect/>
          </a:stretch>
        </p:blipFill>
        <p:spPr>
          <a:xfrm>
            <a:off x="286826" y="5018598"/>
            <a:ext cx="2133599" cy="1286255"/>
          </a:xfrm>
          <a:prstGeom prst="rect">
            <a:avLst/>
          </a:prstGeom>
        </p:spPr>
      </p:pic>
      <p:pic>
        <p:nvPicPr>
          <p:cNvPr id="16" name="object 14">
            <a:extLst>
              <a:ext uri="{FF2B5EF4-FFF2-40B4-BE49-F238E27FC236}">
                <a16:creationId xmlns:a16="http://schemas.microsoft.com/office/drawing/2014/main" id="{9CCE2BC2-2E9A-8BC0-1449-97846DDC0B7B}"/>
              </a:ext>
            </a:extLst>
          </p:cNvPr>
          <p:cNvPicPr/>
          <p:nvPr/>
        </p:nvPicPr>
        <p:blipFill>
          <a:blip r:embed="rId19" cstate="print">
            <a:extLst>
              <a:ext uri="{28A0092B-C50C-407E-A947-70E740481C1C}">
                <a14:useLocalDpi xmlns:a14="http://schemas.microsoft.com/office/drawing/2010/main"/>
              </a:ext>
            </a:extLst>
          </a:blip>
          <a:stretch>
            <a:fillRect/>
          </a:stretch>
        </p:blipFill>
        <p:spPr>
          <a:xfrm>
            <a:off x="299021" y="1601790"/>
            <a:ext cx="1069845" cy="234695"/>
          </a:xfrm>
          <a:prstGeom prst="rect">
            <a:avLst/>
          </a:prstGeom>
        </p:spPr>
      </p:pic>
      <p:pic>
        <p:nvPicPr>
          <p:cNvPr id="17" name="object 15">
            <a:extLst>
              <a:ext uri="{FF2B5EF4-FFF2-40B4-BE49-F238E27FC236}">
                <a16:creationId xmlns:a16="http://schemas.microsoft.com/office/drawing/2014/main" id="{7A77DF40-FDE9-5951-7495-1B3CA7D9A76A}"/>
              </a:ext>
            </a:extLst>
          </p:cNvPr>
          <p:cNvPicPr/>
          <p:nvPr/>
        </p:nvPicPr>
        <p:blipFill>
          <a:blip r:embed="rId20" cstate="print">
            <a:extLst>
              <a:ext uri="{28A0092B-C50C-407E-A947-70E740481C1C}">
                <a14:useLocalDpi xmlns:a14="http://schemas.microsoft.com/office/drawing/2010/main"/>
              </a:ext>
            </a:extLst>
          </a:blip>
          <a:stretch>
            <a:fillRect/>
          </a:stretch>
        </p:blipFill>
        <p:spPr>
          <a:xfrm>
            <a:off x="299018" y="3205038"/>
            <a:ext cx="3258311" cy="234695"/>
          </a:xfrm>
          <a:prstGeom prst="rect">
            <a:avLst/>
          </a:prstGeom>
        </p:spPr>
      </p:pic>
      <p:sp>
        <p:nvSpPr>
          <p:cNvPr id="18" name="object 16">
            <a:extLst>
              <a:ext uri="{FF2B5EF4-FFF2-40B4-BE49-F238E27FC236}">
                <a16:creationId xmlns:a16="http://schemas.microsoft.com/office/drawing/2014/main" id="{D91CE18E-3D15-7057-FE37-50D2A4861D3D}"/>
              </a:ext>
            </a:extLst>
          </p:cNvPr>
          <p:cNvSpPr txBox="1"/>
          <p:nvPr/>
        </p:nvSpPr>
        <p:spPr>
          <a:xfrm>
            <a:off x="371791" y="3216183"/>
            <a:ext cx="3122930" cy="228268"/>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80" normalizeH="0" baseline="0" noProof="0">
                <a:ln>
                  <a:noFill/>
                </a:ln>
                <a:solidFill>
                  <a:srgbClr val="FFFFFF"/>
                </a:solidFill>
                <a:effectLst/>
                <a:uLnTx/>
                <a:uFillTx/>
                <a:latin typeface="游ゴシック Medium" panose="020B0500000000000000" pitchFamily="50" charset="-128"/>
                <a:ea typeface="游ゴシック Medium" panose="020B0500000000000000" pitchFamily="50" charset="-128"/>
                <a:cs typeface="YuGothic"/>
              </a:rPr>
              <a:t>中長期目標達成のための </a:t>
            </a:r>
            <a:r>
              <a:rPr kumimoji="0" sz="1400" b="1" i="0" u="none" strike="noStrike" kern="0" cap="none" spc="-110" normalizeH="0" baseline="0" noProof="0">
                <a:ln>
                  <a:noFill/>
                </a:ln>
                <a:solidFill>
                  <a:srgbClr val="FFFFFF"/>
                </a:solidFill>
                <a:effectLst/>
                <a:uLnTx/>
                <a:uFillTx/>
                <a:latin typeface="游ゴシック Medium" panose="020B0500000000000000" pitchFamily="50" charset="-128"/>
                <a:ea typeface="游ゴシック Medium" panose="020B0500000000000000" pitchFamily="50" charset="-128"/>
                <a:cs typeface="YuGothic"/>
              </a:rPr>
              <a:t>5</a:t>
            </a:r>
            <a:r>
              <a:rPr kumimoji="0" sz="1400" b="1" i="0" u="none" strike="noStrike" kern="0" cap="none" spc="-180" normalizeH="0" baseline="0" noProof="0">
                <a:ln>
                  <a:noFill/>
                </a:ln>
                <a:solidFill>
                  <a:srgbClr val="FFFFFF"/>
                </a:solidFill>
                <a:effectLst/>
                <a:uLnTx/>
                <a:uFillTx/>
                <a:latin typeface="游ゴシック Medium" panose="020B0500000000000000" pitchFamily="50" charset="-128"/>
                <a:ea typeface="游ゴシック Medium" panose="020B0500000000000000" pitchFamily="50" charset="-128"/>
                <a:cs typeface="YuGothic"/>
              </a:rPr>
              <a:t>つのアクション</a:t>
            </a:r>
            <a:endParaRPr kumimoji="0" sz="14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pic>
        <p:nvPicPr>
          <p:cNvPr id="19" name="object 17">
            <a:extLst>
              <a:ext uri="{FF2B5EF4-FFF2-40B4-BE49-F238E27FC236}">
                <a16:creationId xmlns:a16="http://schemas.microsoft.com/office/drawing/2014/main" id="{6D57E6FB-F675-7129-E6FB-3D804081E5AC}"/>
              </a:ext>
            </a:extLst>
          </p:cNvPr>
          <p:cNvPicPr/>
          <p:nvPr/>
        </p:nvPicPr>
        <p:blipFill>
          <a:blip r:embed="rId21" cstate="print">
            <a:extLst>
              <a:ext uri="{28A0092B-C50C-407E-A947-70E740481C1C}">
                <a14:useLocalDpi xmlns:a14="http://schemas.microsoft.com/office/drawing/2010/main"/>
              </a:ext>
            </a:extLst>
          </a:blip>
          <a:stretch>
            <a:fillRect/>
          </a:stretch>
        </p:blipFill>
        <p:spPr>
          <a:xfrm>
            <a:off x="299021" y="4698568"/>
            <a:ext cx="3438141" cy="234683"/>
          </a:xfrm>
          <a:prstGeom prst="rect">
            <a:avLst/>
          </a:prstGeom>
        </p:spPr>
      </p:pic>
      <p:pic>
        <p:nvPicPr>
          <p:cNvPr id="20" name="object 29">
            <a:extLst>
              <a:ext uri="{FF2B5EF4-FFF2-40B4-BE49-F238E27FC236}">
                <a16:creationId xmlns:a16="http://schemas.microsoft.com/office/drawing/2014/main" id="{ECFA09BD-6ED9-1730-7719-157B8615992B}"/>
              </a:ext>
            </a:extLst>
          </p:cNvPr>
          <p:cNvPicPr/>
          <p:nvPr/>
        </p:nvPicPr>
        <p:blipFill>
          <a:blip r:embed="rId22" cstate="print">
            <a:extLst>
              <a:ext uri="{28A0092B-C50C-407E-A947-70E740481C1C}">
                <a14:useLocalDpi xmlns:a14="http://schemas.microsoft.com/office/drawing/2010/main"/>
              </a:ext>
            </a:extLst>
          </a:blip>
          <a:stretch>
            <a:fillRect/>
          </a:stretch>
        </p:blipFill>
        <p:spPr>
          <a:xfrm>
            <a:off x="3258626" y="2158699"/>
            <a:ext cx="316989" cy="515099"/>
          </a:xfrm>
          <a:prstGeom prst="rect">
            <a:avLst/>
          </a:prstGeom>
        </p:spPr>
      </p:pic>
      <p:pic>
        <p:nvPicPr>
          <p:cNvPr id="22" name="object 30">
            <a:extLst>
              <a:ext uri="{FF2B5EF4-FFF2-40B4-BE49-F238E27FC236}">
                <a16:creationId xmlns:a16="http://schemas.microsoft.com/office/drawing/2014/main" id="{0E16FF1C-C558-16B9-8717-33936078A749}"/>
              </a:ext>
            </a:extLst>
          </p:cNvPr>
          <p:cNvPicPr/>
          <p:nvPr/>
        </p:nvPicPr>
        <p:blipFill>
          <a:blip r:embed="rId23" cstate="print">
            <a:extLst>
              <a:ext uri="{28A0092B-C50C-407E-A947-70E740481C1C}">
                <a14:useLocalDpi xmlns:a14="http://schemas.microsoft.com/office/drawing/2010/main"/>
              </a:ext>
            </a:extLst>
          </a:blip>
          <a:stretch>
            <a:fillRect/>
          </a:stretch>
        </p:blipFill>
        <p:spPr>
          <a:xfrm>
            <a:off x="7207334" y="2158699"/>
            <a:ext cx="316989" cy="515099"/>
          </a:xfrm>
          <a:prstGeom prst="rect">
            <a:avLst/>
          </a:prstGeom>
        </p:spPr>
      </p:pic>
      <p:pic>
        <p:nvPicPr>
          <p:cNvPr id="23" name="object 31">
            <a:extLst>
              <a:ext uri="{FF2B5EF4-FFF2-40B4-BE49-F238E27FC236}">
                <a16:creationId xmlns:a16="http://schemas.microsoft.com/office/drawing/2014/main" id="{C8A5D751-9A46-CEC8-5CF7-CE105EE78854}"/>
              </a:ext>
            </a:extLst>
          </p:cNvPr>
          <p:cNvPicPr/>
          <p:nvPr/>
        </p:nvPicPr>
        <p:blipFill>
          <a:blip r:embed="rId24" cstate="print">
            <a:extLst>
              <a:ext uri="{28A0092B-C50C-407E-A947-70E740481C1C}">
                <a14:useLocalDpi xmlns:a14="http://schemas.microsoft.com/office/drawing/2010/main"/>
              </a:ext>
            </a:extLst>
          </a:blip>
          <a:stretch>
            <a:fillRect/>
          </a:stretch>
        </p:blipFill>
        <p:spPr>
          <a:xfrm>
            <a:off x="11819820" y="2254787"/>
            <a:ext cx="320037" cy="515099"/>
          </a:xfrm>
          <a:prstGeom prst="rect">
            <a:avLst/>
          </a:prstGeom>
        </p:spPr>
      </p:pic>
      <p:sp>
        <p:nvSpPr>
          <p:cNvPr id="24" name="object 32">
            <a:extLst>
              <a:ext uri="{FF2B5EF4-FFF2-40B4-BE49-F238E27FC236}">
                <a16:creationId xmlns:a16="http://schemas.microsoft.com/office/drawing/2014/main" id="{2B26E938-6160-AEF1-8396-47742531660D}"/>
              </a:ext>
            </a:extLst>
          </p:cNvPr>
          <p:cNvSpPr txBox="1"/>
          <p:nvPr/>
        </p:nvSpPr>
        <p:spPr>
          <a:xfrm>
            <a:off x="371791" y="1614321"/>
            <a:ext cx="2260600" cy="228268"/>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75" normalizeH="0" baseline="0" noProof="0" err="1">
                <a:ln>
                  <a:noFill/>
                </a:ln>
                <a:solidFill>
                  <a:srgbClr val="FFFFFF"/>
                </a:solidFill>
                <a:effectLst/>
                <a:uLnTx/>
                <a:uFillTx/>
                <a:latin typeface="游ゴシック Medium" panose="020B0500000000000000" pitchFamily="50" charset="-128"/>
                <a:ea typeface="游ゴシック Medium" panose="020B0500000000000000" pitchFamily="50" charset="-128"/>
                <a:cs typeface="YuGothic"/>
              </a:rPr>
              <a:t>中長期目標</a:t>
            </a:r>
            <a:endParaRPr kumimoji="0" sz="14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25" name="object 33">
            <a:extLst>
              <a:ext uri="{FF2B5EF4-FFF2-40B4-BE49-F238E27FC236}">
                <a16:creationId xmlns:a16="http://schemas.microsoft.com/office/drawing/2014/main" id="{1A6FA193-E622-1788-CB2D-40CC71E59175}"/>
              </a:ext>
            </a:extLst>
          </p:cNvPr>
          <p:cNvSpPr txBox="1"/>
          <p:nvPr/>
        </p:nvSpPr>
        <p:spPr>
          <a:xfrm>
            <a:off x="989681" y="3809400"/>
            <a:ext cx="1264920" cy="440633"/>
          </a:xfrm>
          <a:prstGeom prst="rect">
            <a:avLst/>
          </a:prstGeom>
        </p:spPr>
        <p:txBody>
          <a:bodyPr vert="horz" wrap="square" lIns="0" tIns="12700" rIns="0" bIns="0" rtlCol="0">
            <a:spAutoFit/>
          </a:bodyPr>
          <a:lstStyle/>
          <a:p>
            <a:pPr marL="12700" marR="5080" lvl="0" indent="0" defTabSz="914400" eaLnBrk="1" fontAlgn="auto" latinLnBrk="0" hangingPunct="1">
              <a:lnSpc>
                <a:spcPct val="118500"/>
              </a:lnSpc>
              <a:spcBef>
                <a:spcPts val="100"/>
              </a:spcBef>
              <a:spcAft>
                <a:spcPts val="0"/>
              </a:spcAft>
              <a:buClrTx/>
              <a:buSzTx/>
              <a:buFontTx/>
              <a:buNone/>
              <a:tabLst/>
              <a:defRPr/>
            </a:pPr>
            <a:r>
              <a:rPr kumimoji="0" sz="1200" b="1" i="0" u="none" strike="noStrike" kern="0" cap="none" spc="-1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クリーンエネルギー</a:t>
            </a:r>
            <a:r>
              <a:rPr kumimoji="0" sz="1200" b="1" i="0" u="none" strike="noStrike" kern="0" cap="none" spc="-5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の導入</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26" name="object 34">
            <a:extLst>
              <a:ext uri="{FF2B5EF4-FFF2-40B4-BE49-F238E27FC236}">
                <a16:creationId xmlns:a16="http://schemas.microsoft.com/office/drawing/2014/main" id="{DE971D0D-4518-A17E-218C-5A1092382A5A}"/>
              </a:ext>
            </a:extLst>
          </p:cNvPr>
          <p:cNvSpPr txBox="1"/>
          <p:nvPr/>
        </p:nvSpPr>
        <p:spPr>
          <a:xfrm>
            <a:off x="2620459" y="5060020"/>
            <a:ext cx="2043430" cy="1173480"/>
          </a:xfrm>
          <a:prstGeom prst="rect">
            <a:avLst/>
          </a:prstGeom>
        </p:spPr>
        <p:txBody>
          <a:bodyPr vert="horz" wrap="square" lIns="0" tIns="51435" rIns="0" bIns="0" rtlCol="0">
            <a:spAutoFit/>
          </a:bodyPr>
          <a:lstStyle/>
          <a:p>
            <a:pPr marL="12700" marR="0" lvl="0" indent="0" defTabSz="914400" eaLnBrk="1" fontAlgn="auto" latinLnBrk="0" hangingPunct="1">
              <a:lnSpc>
                <a:spcPct val="100000"/>
              </a:lnSpc>
              <a:spcBef>
                <a:spcPts val="405"/>
              </a:spcBef>
              <a:spcAft>
                <a:spcPts val="0"/>
              </a:spcAft>
              <a:buClrTx/>
              <a:buSzTx/>
              <a:buFontTx/>
              <a:buNone/>
              <a:tabLst/>
              <a:defRPr/>
            </a:pPr>
            <a:r>
              <a:rPr kumimoji="0" sz="1000" b="1" i="0" u="none" strike="noStrike" kern="0" cap="none" spc="-27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sz="1000" b="1" i="0" u="none" strike="noStrike" kern="0" cap="none" spc="-7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LNG</a:t>
            </a:r>
            <a:r>
              <a:rPr kumimoji="0" sz="1000" b="1" i="0" u="none" strike="noStrike" kern="0" cap="none" spc="-7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sz="1000" b="1" i="0" u="none" strike="noStrike" kern="0" cap="none" spc="-75"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メタノール燃料外航船</a:t>
            </a:r>
            <a:r>
              <a:rPr kumimoji="0" lang="en-US" sz="1000" b="1" i="0" u="none" strike="noStrike" kern="0" cap="none" spc="-7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sz="1000" b="1" i="0" u="none" strike="noStrike" kern="0" cap="none" spc="-1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90</a:t>
            </a:r>
            <a:r>
              <a:rPr kumimoji="0" sz="1000" b="1" i="0" u="none" strike="noStrike" kern="0" cap="none" spc="-5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隻</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2700" marR="0" lvl="0" indent="0" defTabSz="914400" eaLnBrk="1" fontAlgn="auto" latinLnBrk="0" hangingPunct="1">
              <a:lnSpc>
                <a:spcPct val="100000"/>
              </a:lnSpc>
              <a:spcBef>
                <a:spcPts val="305"/>
              </a:spcBef>
              <a:spcAft>
                <a:spcPts val="0"/>
              </a:spcAft>
              <a:buClrTx/>
              <a:buSzTx/>
              <a:buFontTx/>
              <a:buNone/>
              <a:tabLst/>
              <a:defRPr/>
            </a:pPr>
            <a:r>
              <a:rPr kumimoji="0" sz="1000" b="1" i="0" u="none" strike="noStrike" kern="0" cap="none" spc="-1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sz="1000" b="1" i="0" u="none" strike="noStrike" kern="0" cap="none" spc="-13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ゼロ・エミッション燃料使用割合</a:t>
            </a:r>
            <a:r>
              <a:rPr kumimoji="0" lang="ja-JP" altLang="en-US" sz="1000" b="1" i="0" u="none" strike="noStrike" kern="0" cap="none" spc="-1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sz="1000" b="1" i="0" u="none" strike="noStrike" kern="0" cap="none" spc="-1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sz="10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5%</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2700" marR="0" lvl="0" indent="0" defTabSz="914400" eaLnBrk="1" fontAlgn="auto" latinLnBrk="0" hangingPunct="1">
              <a:lnSpc>
                <a:spcPct val="100000"/>
              </a:lnSpc>
              <a:spcBef>
                <a:spcPts val="305"/>
              </a:spcBef>
              <a:spcAft>
                <a:spcPts val="0"/>
              </a:spcAft>
              <a:buClrTx/>
              <a:buSzTx/>
              <a:buFontTx/>
              <a:buNone/>
              <a:tabLst/>
              <a:defRPr/>
            </a:pPr>
            <a:r>
              <a:rPr kumimoji="0" sz="1000" b="1" i="0" u="none" strike="noStrike" kern="0" cap="none" spc="-27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sz="10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Scope2電力 </a:t>
            </a:r>
            <a:r>
              <a:rPr kumimoji="0" sz="1000" b="1" i="0" u="none" strike="noStrike" kern="0" cap="none" spc="-25"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再エネ割合</a:t>
            </a:r>
            <a:r>
              <a:rPr kumimoji="0" sz="10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sz="1000" b="1" i="0" u="none" strike="noStrike" kern="0" cap="none" spc="-2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100%</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48260" marR="0" lvl="0" indent="0" defTabSz="914400" eaLnBrk="1" fontAlgn="auto" latinLnBrk="0" hangingPunct="1">
              <a:lnSpc>
                <a:spcPct val="100000"/>
              </a:lnSpc>
              <a:spcBef>
                <a:spcPts val="305"/>
              </a:spcBef>
              <a:spcAft>
                <a:spcPts val="0"/>
              </a:spcAft>
              <a:buClrTx/>
              <a:buSzTx/>
              <a:buFontTx/>
              <a:buNone/>
              <a:tabLst/>
              <a:defRPr/>
            </a:pPr>
            <a:r>
              <a:rPr kumimoji="0" sz="1000" b="1" i="0" u="none" strike="noStrike" kern="0" cap="none" spc="-15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以上、</a:t>
            </a:r>
            <a:r>
              <a:rPr kumimoji="0" sz="1000" b="1" i="0" u="none" strike="noStrike" kern="0" cap="none" spc="-1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30</a:t>
            </a:r>
            <a:r>
              <a:rPr kumimoji="0" sz="10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11760" marR="264795" lvl="0" indent="-99060" defTabSz="914400" eaLnBrk="1" fontAlgn="auto" latinLnBrk="0" hangingPunct="1">
              <a:lnSpc>
                <a:spcPct val="125499"/>
              </a:lnSpc>
              <a:spcBef>
                <a:spcPts val="0"/>
              </a:spcBef>
              <a:spcAft>
                <a:spcPts val="0"/>
              </a:spcAft>
              <a:buClrTx/>
              <a:buSzTx/>
              <a:buFontTx/>
              <a:buNone/>
              <a:tabLst/>
              <a:defRPr/>
            </a:pPr>
            <a:r>
              <a:rPr kumimoji="0" sz="1000" b="1" i="0" u="none" strike="noStrike" kern="0" cap="none" spc="-16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ja-JP" altLang="en-US" sz="1000" b="1" i="0" u="none" strike="noStrike" kern="0" cap="none" spc="-16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ネットゼロ・エミッション</a:t>
            </a:r>
            <a:r>
              <a:rPr kumimoji="0" lang="ja-JP" altLang="en-US" sz="1000" b="1" i="0" u="none" strike="noStrike" kern="0" cap="none" spc="2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外航船</a:t>
            </a:r>
            <a:r>
              <a:rPr kumimoji="0" sz="10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130</a:t>
            </a:r>
            <a:r>
              <a:rPr kumimoji="0" sz="1000" b="1" i="0" u="none" strike="noStrike" kern="0" cap="none" spc="-14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隻【</a:t>
            </a:r>
            <a:r>
              <a:rPr kumimoji="0" sz="10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35</a:t>
            </a:r>
            <a:r>
              <a:rPr kumimoji="0" sz="10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27" name="object 35">
            <a:extLst>
              <a:ext uri="{FF2B5EF4-FFF2-40B4-BE49-F238E27FC236}">
                <a16:creationId xmlns:a16="http://schemas.microsoft.com/office/drawing/2014/main" id="{C40B3978-51F0-4553-B6F0-6E9A8FBD5073}"/>
              </a:ext>
            </a:extLst>
          </p:cNvPr>
          <p:cNvSpPr txBox="1"/>
          <p:nvPr/>
        </p:nvSpPr>
        <p:spPr>
          <a:xfrm>
            <a:off x="4950528" y="5059766"/>
            <a:ext cx="1849767" cy="782522"/>
          </a:xfrm>
          <a:prstGeom prst="rect">
            <a:avLst/>
          </a:prstGeom>
        </p:spPr>
        <p:txBody>
          <a:bodyPr vert="horz" wrap="square" lIns="0" tIns="12700" rIns="0" bIns="0" rtlCol="0">
            <a:spAutoFit/>
          </a:bodyPr>
          <a:lstStyle/>
          <a:p>
            <a:pPr marL="111760" marR="5080" lvl="0" indent="-99060" defTabSz="914400" eaLnBrk="1" fontAlgn="auto" latinLnBrk="0" hangingPunct="1">
              <a:lnSpc>
                <a:spcPct val="125499"/>
              </a:lnSpc>
              <a:spcBef>
                <a:spcPts val="100"/>
              </a:spcBef>
              <a:spcAft>
                <a:spcPts val="0"/>
              </a:spcAft>
              <a:buClrTx/>
              <a:buSzTx/>
              <a:buFontTx/>
              <a:buNone/>
              <a:tabLst/>
              <a:defRPr/>
            </a:pP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ウインドチャレンジャー搭載</a:t>
            </a:r>
            <a:endParaRPr kumimoji="0" lang="en-US" altLang="ja-JP"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a:p>
            <a:pPr marL="111760" marR="5080" lvl="0" indent="-99060" defTabSz="914400" eaLnBrk="1" fontAlgn="auto" latinLnBrk="0" hangingPunct="1">
              <a:lnSpc>
                <a:spcPct val="125499"/>
              </a:lnSpc>
              <a:spcBef>
                <a:spcPts val="100"/>
              </a:spcBef>
              <a:spcAft>
                <a:spcPts val="0"/>
              </a:spcAft>
              <a:buClrTx/>
              <a:buSzTx/>
              <a:buFontTx/>
              <a:buNone/>
              <a:tabLst/>
              <a:defRPr/>
            </a:pP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隻数</a:t>
            </a: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25隻【2030年】</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11760" marR="5080" lvl="0" indent="-99060" defTabSz="914400" eaLnBrk="1" fontAlgn="auto" latinLnBrk="0" hangingPunct="1">
              <a:lnSpc>
                <a:spcPct val="125499"/>
              </a:lnSpc>
              <a:spcBef>
                <a:spcPts val="0"/>
              </a:spcBef>
              <a:spcAft>
                <a:spcPts val="0"/>
              </a:spcAft>
              <a:buClrTx/>
              <a:buSzTx/>
              <a:buFontTx/>
              <a:buNone/>
              <a:tabLst/>
              <a:defRPr/>
            </a:pP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sz="10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ウインドチャレンジャ</a:t>
            </a: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ー</a:t>
            </a: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搭載</a:t>
            </a:r>
            <a:endParaRPr kumimoji="0" lang="en-US" altLang="ja-JP"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a:p>
            <a:pPr marL="111760" marR="5080" lvl="0" indent="-99060" defTabSz="914400" eaLnBrk="1" fontAlgn="auto" latinLnBrk="0" hangingPunct="1">
              <a:lnSpc>
                <a:spcPct val="125499"/>
              </a:lnSpc>
              <a:spcBef>
                <a:spcPts val="0"/>
              </a:spcBef>
              <a:spcAft>
                <a:spcPts val="0"/>
              </a:spcAft>
              <a:buClrTx/>
              <a:buSzTx/>
              <a:buFontTx/>
              <a:buNone/>
              <a:tabLst/>
              <a:defRPr/>
            </a:pP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sz="10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隻数</a:t>
            </a: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80隻【2035年】</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28" name="object 36">
            <a:extLst>
              <a:ext uri="{FF2B5EF4-FFF2-40B4-BE49-F238E27FC236}">
                <a16:creationId xmlns:a16="http://schemas.microsoft.com/office/drawing/2014/main" id="{2F1D3503-BAB4-7077-E56B-9E448F0EF47B}"/>
              </a:ext>
            </a:extLst>
          </p:cNvPr>
          <p:cNvSpPr txBox="1"/>
          <p:nvPr/>
        </p:nvSpPr>
        <p:spPr>
          <a:xfrm>
            <a:off x="7259261" y="5059639"/>
            <a:ext cx="1945699" cy="397545"/>
          </a:xfrm>
          <a:prstGeom prst="rect">
            <a:avLst/>
          </a:prstGeom>
        </p:spPr>
        <p:txBody>
          <a:bodyPr vert="horz" wrap="square" lIns="0" tIns="12700" rIns="0" bIns="0" rtlCol="0">
            <a:spAutoFit/>
          </a:bodyPr>
          <a:lstStyle/>
          <a:p>
            <a:pPr marL="111760" marR="5080" lvl="0" indent="-99060" defTabSz="914400" eaLnBrk="1" fontAlgn="auto" latinLnBrk="0" hangingPunct="1">
              <a:lnSpc>
                <a:spcPct val="125499"/>
              </a:lnSpc>
              <a:spcBef>
                <a:spcPts val="100"/>
              </a:spcBef>
              <a:spcAft>
                <a:spcPts val="0"/>
              </a:spcAft>
              <a:buClrTx/>
              <a:buSzTx/>
              <a:buFontTx/>
              <a:buNone/>
              <a:tabLst/>
              <a:defRPr/>
            </a:pP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燃費効率 </a:t>
            </a: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5%</a:t>
            </a: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改善</a:t>
            </a: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2019年比)</a:t>
            </a:r>
            <a:endParaRPr kumimoji="0" lang="en-US"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11760" marR="5080" lvl="0" indent="-99060" defTabSz="914400" eaLnBrk="1" fontAlgn="auto" latinLnBrk="0" hangingPunct="1">
              <a:lnSpc>
                <a:spcPct val="125499"/>
              </a:lnSpc>
              <a:spcBef>
                <a:spcPts val="100"/>
              </a:spcBef>
              <a:spcAft>
                <a:spcPts val="0"/>
              </a:spcAft>
              <a:buClrTx/>
              <a:buSzTx/>
              <a:buFontTx/>
              <a:buNone/>
              <a:tabLst/>
              <a:defRPr/>
            </a:pPr>
            <a:r>
              <a:rPr kumimoji="0" lang="ja-JP" altLang="en-US"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sz="10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25年】</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29" name="object 37">
            <a:extLst>
              <a:ext uri="{FF2B5EF4-FFF2-40B4-BE49-F238E27FC236}">
                <a16:creationId xmlns:a16="http://schemas.microsoft.com/office/drawing/2014/main" id="{74856A4A-8483-F7A1-D3EA-2C535D2D36E2}"/>
              </a:ext>
            </a:extLst>
          </p:cNvPr>
          <p:cNvSpPr txBox="1"/>
          <p:nvPr/>
        </p:nvSpPr>
        <p:spPr>
          <a:xfrm>
            <a:off x="9567994" y="5059512"/>
            <a:ext cx="2051114" cy="602986"/>
          </a:xfrm>
          <a:prstGeom prst="rect">
            <a:avLst/>
          </a:prstGeom>
        </p:spPr>
        <p:txBody>
          <a:bodyPr vert="horz" wrap="square" lIns="0" tIns="12700" rIns="0" bIns="0" rtlCol="0">
            <a:spAutoFit/>
          </a:bodyPr>
          <a:lstStyle/>
          <a:p>
            <a:pPr marL="111760" marR="5080" lvl="0" indent="-99060" defTabSz="914400" eaLnBrk="1" fontAlgn="auto" latinLnBrk="0" hangingPunct="1">
              <a:lnSpc>
                <a:spcPct val="125499"/>
              </a:lnSpc>
              <a:spcBef>
                <a:spcPts val="100"/>
              </a:spcBef>
              <a:spcAft>
                <a:spcPts val="0"/>
              </a:spcAft>
              <a:buClrTx/>
              <a:buSzTx/>
              <a:buFontTx/>
              <a:buNone/>
              <a:tabLst/>
              <a:defRPr/>
            </a:pPr>
            <a:r>
              <a:rPr kumimoji="0" lang="ja-JP" altLang="en-US"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吸収・除去系カーボンクレジット</a:t>
            </a:r>
            <a:endParaRPr kumimoji="0" lang="en-US" altLang="ja-JP"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endParaRPr>
          </a:p>
          <a:p>
            <a:pPr marL="111760" marR="5080" lvl="0" indent="-99060" defTabSz="914400" eaLnBrk="1" fontAlgn="auto" latinLnBrk="0" hangingPunct="1">
              <a:lnSpc>
                <a:spcPct val="125499"/>
              </a:lnSpc>
              <a:spcBef>
                <a:spcPts val="100"/>
              </a:spcBef>
              <a:spcAft>
                <a:spcPts val="0"/>
              </a:spcAft>
              <a:buClrTx/>
              <a:buSzTx/>
              <a:buFontTx/>
              <a:buNone/>
              <a:tabLst/>
              <a:defRPr/>
            </a:pPr>
            <a:r>
              <a:rPr kumimoji="0" lang="ja-JP" altLang="en-US"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   の使用量 </a:t>
            </a:r>
            <a:r>
              <a:rPr kumimoji="0" lang="en-US" altLang="ja-JP"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220</a:t>
            </a:r>
            <a:r>
              <a:rPr kumimoji="0" lang="ja-JP" altLang="en-US"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万</a:t>
            </a:r>
            <a:r>
              <a:rPr kumimoji="0" lang="en-US" altLang="ja-JP"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t-CO2e(</a:t>
            </a:r>
            <a:r>
              <a:rPr kumimoji="0" lang="ja-JP" altLang="en-US"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累計</a:t>
            </a:r>
            <a:r>
              <a:rPr kumimoji="0" lang="en-US" altLang="ja-JP"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a:t>
            </a:r>
          </a:p>
          <a:p>
            <a:pPr marL="111760" marR="5080" lvl="0" indent="-99060" defTabSz="914400" eaLnBrk="1" fontAlgn="auto" latinLnBrk="0" hangingPunct="1">
              <a:lnSpc>
                <a:spcPct val="125499"/>
              </a:lnSpc>
              <a:spcBef>
                <a:spcPts val="100"/>
              </a:spcBef>
              <a:spcAft>
                <a:spcPts val="0"/>
              </a:spcAft>
              <a:buClrTx/>
              <a:buSzTx/>
              <a:buFontTx/>
              <a:buNone/>
              <a:tabLst/>
              <a:defRPr/>
            </a:pPr>
            <a:r>
              <a:rPr kumimoji="0" lang="en-US" altLang="ja-JP"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  【2030</a:t>
            </a:r>
            <a:r>
              <a:rPr kumimoji="0" lang="ja-JP" altLang="en-US"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年</a:t>
            </a:r>
            <a:r>
              <a:rPr kumimoji="0" lang="en-US" altLang="ja-JP" sz="1000" b="1"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rPr>
              <a:t>】</a:t>
            </a:r>
            <a:endParaRPr kumimoji="0" lang="ja-JP" altLang="en-US" sz="1000" b="0" i="0" u="none" strike="noStrike" kern="0" cap="none" spc="0" normalizeH="0" baseline="0" noProof="0">
              <a:ln>
                <a:noFill/>
              </a:ln>
              <a:solidFill>
                <a:srgbClr val="005396"/>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0" name="object 38">
            <a:extLst>
              <a:ext uri="{FF2B5EF4-FFF2-40B4-BE49-F238E27FC236}">
                <a16:creationId xmlns:a16="http://schemas.microsoft.com/office/drawing/2014/main" id="{C2FECACC-FF89-AEC6-0B23-EC4C622D7C9A}"/>
              </a:ext>
            </a:extLst>
          </p:cNvPr>
          <p:cNvSpPr txBox="1"/>
          <p:nvPr/>
        </p:nvSpPr>
        <p:spPr>
          <a:xfrm>
            <a:off x="3334040" y="3809400"/>
            <a:ext cx="1296670" cy="440633"/>
          </a:xfrm>
          <a:prstGeom prst="rect">
            <a:avLst/>
          </a:prstGeom>
        </p:spPr>
        <p:txBody>
          <a:bodyPr vert="horz" wrap="square" lIns="0" tIns="12700" rIns="0" bIns="0" rtlCol="0">
            <a:spAutoFit/>
          </a:bodyPr>
          <a:lstStyle/>
          <a:p>
            <a:pPr marL="12700" marR="5080" lvl="0" indent="0" defTabSz="914400" eaLnBrk="1" fontAlgn="auto" latinLnBrk="0" hangingPunct="1">
              <a:lnSpc>
                <a:spcPct val="118500"/>
              </a:lnSpc>
              <a:spcBef>
                <a:spcPts val="100"/>
              </a:spcBef>
              <a:spcAft>
                <a:spcPts val="0"/>
              </a:spcAft>
              <a:buClrTx/>
              <a:buSzTx/>
              <a:buFontTx/>
              <a:buNone/>
              <a:tabLst/>
              <a:defRPr/>
            </a:pPr>
            <a:r>
              <a:rPr kumimoji="0" sz="1200" b="1" i="0" u="none" strike="noStrike" kern="0" cap="none" spc="-105"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さらなる省エネ技術</a:t>
            </a:r>
            <a:r>
              <a:rPr kumimoji="0" sz="1200" b="1" i="0" u="none" strike="noStrike" kern="0" cap="none" spc="-55"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の導入</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1" name="object 39">
            <a:extLst>
              <a:ext uri="{FF2B5EF4-FFF2-40B4-BE49-F238E27FC236}">
                <a16:creationId xmlns:a16="http://schemas.microsoft.com/office/drawing/2014/main" id="{2218B0B0-3D4D-679F-6A85-4EEA78E6D65E}"/>
              </a:ext>
            </a:extLst>
          </p:cNvPr>
          <p:cNvSpPr txBox="1"/>
          <p:nvPr/>
        </p:nvSpPr>
        <p:spPr>
          <a:xfrm>
            <a:off x="5613487" y="3929491"/>
            <a:ext cx="1282700" cy="19749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12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効率オペレーション</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2" name="object 40">
            <a:extLst>
              <a:ext uri="{FF2B5EF4-FFF2-40B4-BE49-F238E27FC236}">
                <a16:creationId xmlns:a16="http://schemas.microsoft.com/office/drawing/2014/main" id="{70029832-A7B9-9E49-330B-EF031501CCA2}"/>
              </a:ext>
            </a:extLst>
          </p:cNvPr>
          <p:cNvSpPr txBox="1"/>
          <p:nvPr/>
        </p:nvSpPr>
        <p:spPr>
          <a:xfrm>
            <a:off x="7928595" y="3718722"/>
            <a:ext cx="1255395" cy="638175"/>
          </a:xfrm>
          <a:prstGeom prst="rect">
            <a:avLst/>
          </a:prstGeom>
        </p:spPr>
        <p:txBody>
          <a:bodyPr vert="horz" wrap="square" lIns="0" tIns="12700" rIns="0" bIns="0" rtlCol="0">
            <a:spAutoFit/>
          </a:bodyPr>
          <a:lstStyle/>
          <a:p>
            <a:pPr marL="12700" marR="5080" lvl="0" indent="0" algn="just" defTabSz="914400" eaLnBrk="1" fontAlgn="auto" latinLnBrk="0" hangingPunct="1">
              <a:lnSpc>
                <a:spcPct val="111600"/>
              </a:lnSpc>
              <a:spcBef>
                <a:spcPts val="100"/>
              </a:spcBef>
              <a:spcAft>
                <a:spcPts val="0"/>
              </a:spcAft>
              <a:buClrTx/>
              <a:buSzTx/>
              <a:buFontTx/>
              <a:buNone/>
              <a:tabLst/>
              <a:defRPr/>
            </a:pPr>
            <a:r>
              <a:rPr kumimoji="0" sz="1200" b="1" i="0" u="none" strike="noStrike" kern="0" cap="none" spc="-14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ネットゼロを可能に</a:t>
            </a:r>
            <a:r>
              <a:rPr kumimoji="0" sz="1200" b="1" i="0" u="none" strike="noStrike" kern="0" cap="none" spc="-14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するビジネスモデル</a:t>
            </a:r>
            <a:r>
              <a:rPr kumimoji="0" sz="1200" b="1" i="0" u="none" strike="noStrike" kern="0" cap="none" spc="-4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構築</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3" name="object 41">
            <a:extLst>
              <a:ext uri="{FF2B5EF4-FFF2-40B4-BE49-F238E27FC236}">
                <a16:creationId xmlns:a16="http://schemas.microsoft.com/office/drawing/2014/main" id="{3EB506F9-C6F4-9ABD-04BF-EE2C49E9E401}"/>
              </a:ext>
            </a:extLst>
          </p:cNvPr>
          <p:cNvSpPr txBox="1"/>
          <p:nvPr/>
        </p:nvSpPr>
        <p:spPr>
          <a:xfrm>
            <a:off x="10190212" y="3715217"/>
            <a:ext cx="1280160" cy="638175"/>
          </a:xfrm>
          <a:prstGeom prst="rect">
            <a:avLst/>
          </a:prstGeom>
        </p:spPr>
        <p:txBody>
          <a:bodyPr vert="horz" wrap="square" lIns="0" tIns="12700" rIns="0" bIns="0" rtlCol="0">
            <a:spAutoFit/>
          </a:bodyPr>
          <a:lstStyle/>
          <a:p>
            <a:pPr marL="12700" marR="5080" lvl="0" indent="0" defTabSz="914400" eaLnBrk="1" fontAlgn="auto" latinLnBrk="0" hangingPunct="1">
              <a:lnSpc>
                <a:spcPct val="111600"/>
              </a:lnSpc>
              <a:spcBef>
                <a:spcPts val="100"/>
              </a:spcBef>
              <a:spcAft>
                <a:spcPts val="0"/>
              </a:spcAft>
              <a:buClrTx/>
              <a:buSzTx/>
              <a:buFontTx/>
              <a:buNone/>
              <a:tabLst/>
              <a:defRPr/>
            </a:pPr>
            <a:r>
              <a:rPr kumimoji="0" sz="12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グループ総力を  </a:t>
            </a:r>
            <a:r>
              <a:rPr kumimoji="0" sz="12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挙げた低・脱炭素</a:t>
            </a:r>
            <a:br>
              <a:rPr kumimoji="0" lang="en-US" sz="12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br>
            <a:r>
              <a:rPr kumimoji="0" sz="12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事業拡大</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4" name="object 42">
            <a:extLst>
              <a:ext uri="{FF2B5EF4-FFF2-40B4-BE49-F238E27FC236}">
                <a16:creationId xmlns:a16="http://schemas.microsoft.com/office/drawing/2014/main" id="{0156B54B-1EF5-A489-88DE-7C80BA1A98A3}"/>
              </a:ext>
            </a:extLst>
          </p:cNvPr>
          <p:cNvSpPr txBox="1"/>
          <p:nvPr/>
        </p:nvSpPr>
        <p:spPr>
          <a:xfrm>
            <a:off x="339412" y="5132542"/>
            <a:ext cx="2081013" cy="1104405"/>
          </a:xfrm>
          <a:prstGeom prst="rect">
            <a:avLst/>
          </a:prstGeom>
        </p:spPr>
        <p:txBody>
          <a:bodyPr vert="horz" wrap="square" lIns="0" tIns="12700" rIns="0" bIns="0" rtlCol="0">
            <a:spAutoFit/>
          </a:bodyPr>
          <a:lstStyle/>
          <a:p>
            <a:pPr marL="49530" marR="0" lvl="0" indent="0" defTabSz="914400" eaLnBrk="1" fontAlgn="auto" latinLnBrk="0" hangingPunct="1">
              <a:lnSpc>
                <a:spcPct val="100000"/>
              </a:lnSpc>
              <a:spcBef>
                <a:spcPts val="100"/>
              </a:spcBef>
              <a:spcAft>
                <a:spcPts val="0"/>
              </a:spcAft>
              <a:buClrTx/>
              <a:buSzTx/>
              <a:buFontTx/>
              <a:buNone/>
              <a:tabLst/>
              <a:defRPr/>
            </a:pPr>
            <a:r>
              <a:rPr kumimoji="0" lang="ja-JP" altLang="en-US" sz="1300" b="1" i="0" u="none" strike="noStrike" kern="0" cap="none" spc="-15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環境ビジョン</a:t>
            </a:r>
            <a:r>
              <a:rPr kumimoji="0" lang="en-US" altLang="ja-JP" sz="13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2</a:t>
            </a:r>
            <a:r>
              <a:rPr kumimoji="0" lang="ja-JP" altLang="en-US" sz="1300" b="1" i="0" u="none" strike="noStrike" kern="0" cap="none" spc="-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全体</a:t>
            </a:r>
            <a:endParaRPr kumimoji="0" lang="ja-JP" altLang="en-US" sz="13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2700" marR="0" lvl="0" indent="0" defTabSz="914400" eaLnBrk="1" fontAlgn="auto" latinLnBrk="0" hangingPunct="1">
              <a:lnSpc>
                <a:spcPct val="100000"/>
              </a:lnSpc>
              <a:spcBef>
                <a:spcPts val="740"/>
              </a:spcBef>
              <a:spcAft>
                <a:spcPts val="0"/>
              </a:spcAft>
              <a:buClrTx/>
              <a:buSzTx/>
              <a:buFontTx/>
              <a:buNone/>
              <a:tabLst/>
              <a:defRPr/>
            </a:pPr>
            <a:r>
              <a:rPr kumimoji="0" lang="ja-JP" altLang="en-US" sz="11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環境投資額 </a:t>
            </a:r>
            <a:r>
              <a:rPr kumimoji="0" lang="en-US" altLang="ja-JP" sz="1100" b="1" i="0" u="none" strike="noStrike" kern="0" cap="none" spc="-1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6,500</a:t>
            </a:r>
            <a:r>
              <a:rPr kumimoji="0" lang="ja-JP" altLang="en-US" sz="1100" b="1" i="0" u="none" strike="noStrike" kern="0" cap="none" spc="-4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億円</a:t>
            </a:r>
            <a:endParaRPr kumimoji="0" lang="ja-JP" altLang="en-US" sz="11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11760" marR="0" lvl="0" indent="0" defTabSz="914400" eaLnBrk="1" fontAlgn="auto" latinLnBrk="0" hangingPunct="1">
              <a:lnSpc>
                <a:spcPct val="100000"/>
              </a:lnSpc>
              <a:spcBef>
                <a:spcPts val="305"/>
              </a:spcBef>
              <a:spcAft>
                <a:spcPts val="0"/>
              </a:spcAft>
              <a:buClrTx/>
              <a:buSzTx/>
              <a:buFontTx/>
              <a:buNone/>
              <a:tabLst/>
              <a:defRPr/>
            </a:pPr>
            <a:r>
              <a:rPr kumimoji="0" lang="en-US" altLang="ja-JP" sz="1100" b="1" i="0" u="none" strike="noStrike" kern="0" cap="none" spc="-2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3</a:t>
            </a:r>
            <a:r>
              <a:rPr kumimoji="0" lang="ja-JP" altLang="en-US" sz="1100" b="1" i="0" u="none" strike="noStrike" kern="0" cap="none" spc="-8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度からの累計</a:t>
            </a:r>
            <a:r>
              <a:rPr kumimoji="0" lang="en-US" altLang="ja-JP" sz="1100" b="1" i="0" u="none" strike="noStrike" kern="0" cap="none" spc="-8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en-US" altLang="ja-JP" sz="11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25</a:t>
            </a:r>
            <a:r>
              <a:rPr kumimoji="0" lang="ja-JP" altLang="en-US" sz="11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a:t>
            </a:r>
            <a:r>
              <a:rPr kumimoji="0" lang="en-US" altLang="ja-JP" sz="11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endParaRPr kumimoji="0" lang="ja-JP" altLang="en-US" sz="11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11760" marR="465455" lvl="0" indent="-99060" defTabSz="914400" eaLnBrk="1" fontAlgn="auto" latinLnBrk="0" hangingPunct="1">
              <a:lnSpc>
                <a:spcPct val="125499"/>
              </a:lnSpc>
              <a:spcBef>
                <a:spcPts val="0"/>
              </a:spcBef>
              <a:spcAft>
                <a:spcPts val="0"/>
              </a:spcAft>
              <a:buClrTx/>
              <a:buSzTx/>
              <a:buFontTx/>
              <a:buNone/>
              <a:tabLst/>
              <a:defRPr/>
            </a:pPr>
            <a:r>
              <a:rPr kumimoji="0" lang="ja-JP" altLang="en-US" sz="1100" b="1" i="0" u="none" strike="noStrike" kern="0" cap="none" spc="-16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Ｇ</a:t>
            </a:r>
            <a:r>
              <a:rPr kumimoji="0" lang="en-US" altLang="ja-JP" sz="1100" b="1" i="0" u="none" strike="noStrike" kern="0" cap="none" spc="-4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HG</a:t>
            </a:r>
            <a:r>
              <a:rPr kumimoji="0" lang="ja-JP" altLang="en-US" sz="1100" b="1" i="0" u="none" strike="noStrike" kern="0" cap="none" spc="9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総量 </a:t>
            </a:r>
            <a:r>
              <a:rPr kumimoji="0" lang="en-US" altLang="ja-JP" sz="1100" b="1" i="0" u="none" strike="noStrike" kern="0" cap="none" spc="-2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3</a:t>
            </a:r>
            <a:r>
              <a:rPr kumimoji="0" lang="en-US" altLang="ja-JP" sz="1100" b="1" i="0" u="none" strike="noStrike" kern="0" cap="none" spc="-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ja-JP" altLang="en-US" sz="1100" b="1" i="0" u="none" strike="noStrike" kern="0" cap="none" spc="-3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削減</a:t>
            </a:r>
            <a:r>
              <a:rPr kumimoji="0" lang="ja-JP" altLang="en-US" sz="1100" b="1" i="0" u="none" strike="noStrike" kern="0" cap="none" spc="-5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 </a:t>
            </a:r>
            <a:r>
              <a:rPr kumimoji="0" lang="en-US" altLang="ja-JP" sz="11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19</a:t>
            </a:r>
            <a:r>
              <a:rPr kumimoji="0" lang="ja-JP" altLang="en-US" sz="1100" b="1" i="0" u="none" strike="noStrike" kern="0" cap="none" spc="-9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比</a:t>
            </a:r>
            <a:r>
              <a:rPr kumimoji="0" lang="en-US" altLang="ja-JP" sz="1100" b="1" i="0" u="none" strike="noStrike" kern="0" cap="none" spc="-9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en-US" altLang="ja-JP" sz="1100" b="1" i="0" u="none" strike="noStrike" kern="0" cap="none" spc="-1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30</a:t>
            </a:r>
            <a:r>
              <a:rPr kumimoji="0" lang="ja-JP" altLang="en-US" sz="11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a:t>
            </a:r>
            <a:r>
              <a:rPr kumimoji="0" lang="en-US" altLang="ja-JP" sz="1100" b="1" i="0" u="none" strike="noStrike" kern="0" cap="none" spc="-35"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endParaRPr kumimoji="0" lang="ja-JP" altLang="en-US" sz="11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5" name="object 43">
            <a:extLst>
              <a:ext uri="{FF2B5EF4-FFF2-40B4-BE49-F238E27FC236}">
                <a16:creationId xmlns:a16="http://schemas.microsoft.com/office/drawing/2014/main" id="{36C43B81-71E1-52DB-704F-7E4766177411}"/>
              </a:ext>
            </a:extLst>
          </p:cNvPr>
          <p:cNvSpPr txBox="1"/>
          <p:nvPr/>
        </p:nvSpPr>
        <p:spPr>
          <a:xfrm>
            <a:off x="3773126" y="2086364"/>
            <a:ext cx="3272369" cy="897938"/>
          </a:xfrm>
          <a:prstGeom prst="rect">
            <a:avLst/>
          </a:prstGeom>
        </p:spPr>
        <p:txBody>
          <a:bodyPr vert="horz" wrap="square" lIns="0" tIns="12700" rIns="0" bIns="0" rtlCol="0">
            <a:spAutoFit/>
          </a:bodyPr>
          <a:lstStyle/>
          <a:p>
            <a:pPr marL="0" marR="0" lvl="0" indent="0"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35年</a:t>
            </a:r>
            <a:endParaRPr kumimoji="0" sz="14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2700" marR="5080" lvl="0" indent="0" algn="ctr" defTabSz="914400" eaLnBrk="1" fontAlgn="auto" latinLnBrk="0" hangingPunct="1">
              <a:lnSpc>
                <a:spcPct val="101600"/>
              </a:lnSpc>
              <a:spcBef>
                <a:spcPts val="0"/>
              </a:spcBef>
              <a:spcAft>
                <a:spcPts val="600"/>
              </a:spcAft>
              <a:buClrTx/>
              <a:buSzTx/>
              <a:buFontTx/>
              <a:buNone/>
              <a:tabLst/>
              <a:defRPr/>
            </a:pPr>
            <a:r>
              <a:rPr kumimoji="0" sz="14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輸送におけるGHG排出原単位を</a:t>
            </a:r>
            <a:br>
              <a:rPr kumimoji="0" lang="en-US"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br>
            <a:r>
              <a:rPr kumimoji="0"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45%削減します（2019年比）</a:t>
            </a:r>
            <a:endParaRPr kumimoji="0" lang="en-US"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a:p>
            <a:pPr marL="12700" marR="5080" lvl="0" indent="0" algn="ctr" defTabSz="914400" eaLnBrk="1" fontAlgn="auto" latinLnBrk="0" hangingPunct="1">
              <a:lnSpc>
                <a:spcPct val="101600"/>
              </a:lnSpc>
              <a:spcBef>
                <a:spcPts val="0"/>
              </a:spcBef>
              <a:spcAft>
                <a:spcPts val="0"/>
              </a:spcAft>
              <a:buClrTx/>
              <a:buSzTx/>
              <a:buFontTx/>
              <a:buNone/>
              <a:tabLst/>
              <a:defRPr/>
            </a:pPr>
            <a:r>
              <a:rPr kumimoji="0" 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Scope1</a:t>
            </a:r>
            <a:r>
              <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に加え</a:t>
            </a:r>
            <a:r>
              <a:rPr kumimoji="0" 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Scope3</a:t>
            </a:r>
            <a:r>
              <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の一部 </a:t>
            </a:r>
            <a:r>
              <a:rPr kumimoji="0" lang="en-US" altLang="ja-JP"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外航自社運航船</a:t>
            </a:r>
            <a:r>
              <a:rPr kumimoji="0" lang="en-US" altLang="ja-JP"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endPar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36" name="object 44">
            <a:extLst>
              <a:ext uri="{FF2B5EF4-FFF2-40B4-BE49-F238E27FC236}">
                <a16:creationId xmlns:a16="http://schemas.microsoft.com/office/drawing/2014/main" id="{9FEDFFD1-2F73-56C6-B0A8-70B22E8D0DDE}"/>
              </a:ext>
            </a:extLst>
          </p:cNvPr>
          <p:cNvSpPr txBox="1"/>
          <p:nvPr/>
        </p:nvSpPr>
        <p:spPr>
          <a:xfrm>
            <a:off x="7692851" y="1876034"/>
            <a:ext cx="4015104" cy="1174809"/>
          </a:xfrm>
          <a:prstGeom prst="rect">
            <a:avLst/>
          </a:prstGeom>
        </p:spPr>
        <p:txBody>
          <a:bodyPr vert="horz" wrap="square" lIns="0" tIns="41910" rIns="0" bIns="0" rtlCol="0">
            <a:spAutoFit/>
          </a:bodyPr>
          <a:lstStyle/>
          <a:p>
            <a:pPr marL="0" marR="0" lvl="0" indent="0" algn="ctr" defTabSz="914400" eaLnBrk="1" fontAlgn="auto" latinLnBrk="0" hangingPunct="1">
              <a:lnSpc>
                <a:spcPct val="100000"/>
              </a:lnSpc>
              <a:spcBef>
                <a:spcPts val="330"/>
              </a:spcBef>
              <a:spcAft>
                <a:spcPts val="0"/>
              </a:spcAft>
              <a:buClrTx/>
              <a:buSzTx/>
              <a:buFontTx/>
              <a:buNone/>
              <a:tabLst/>
              <a:defRPr/>
            </a:pPr>
            <a:r>
              <a:rPr kumimoji="0" sz="18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50年</a:t>
            </a:r>
            <a:endParaRPr kumimoji="0" sz="18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12065" marR="5080" lvl="0" indent="0" algn="ctr" defTabSz="914400" eaLnBrk="1" fontAlgn="auto" latinLnBrk="0" hangingPunct="1">
              <a:lnSpc>
                <a:spcPct val="110700"/>
              </a:lnSpc>
              <a:spcBef>
                <a:spcPts val="0"/>
              </a:spcBef>
              <a:spcAft>
                <a:spcPts val="0"/>
              </a:spcAft>
              <a:buClrTx/>
              <a:buSzTx/>
              <a:buFontTx/>
              <a:buNone/>
              <a:tabLst/>
              <a:defRPr/>
            </a:pPr>
            <a:r>
              <a:rPr kumimoji="0" sz="18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グループ全体でのネットゼロ</a:t>
            </a:r>
            <a:r>
              <a:rPr kumimoji="0" sz="18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endParaRPr kumimoji="0" lang="en-US" sz="18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a:p>
            <a:pPr marL="12065" marR="5080" lvl="0" indent="0" algn="ctr" defTabSz="914400" eaLnBrk="1" fontAlgn="auto" latinLnBrk="0" hangingPunct="1">
              <a:lnSpc>
                <a:spcPct val="110700"/>
              </a:lnSpc>
              <a:spcBef>
                <a:spcPts val="0"/>
              </a:spcBef>
              <a:spcAft>
                <a:spcPts val="600"/>
              </a:spcAft>
              <a:buClrTx/>
              <a:buSzTx/>
              <a:buFontTx/>
              <a:buNone/>
              <a:tabLst/>
              <a:defRPr/>
            </a:pPr>
            <a:r>
              <a:rPr kumimoji="0" sz="1800" b="1" i="0" u="none" strike="noStrike" kern="0" cap="none" spc="0" normalizeH="0" baseline="0" noProof="0" err="1">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エミッション達成を目指します</a:t>
            </a:r>
            <a:endParaRPr kumimoji="0" lang="en-US" sz="18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a:p>
            <a:pPr marL="12065" marR="5080" lvl="0" indent="0" algn="ctr" defTabSz="914400" eaLnBrk="1" fontAlgn="auto" latinLnBrk="0" hangingPunct="1">
              <a:lnSpc>
                <a:spcPct val="110700"/>
              </a:lnSpc>
              <a:spcBef>
                <a:spcPts val="0"/>
              </a:spcBef>
              <a:spcAft>
                <a:spcPts val="0"/>
              </a:spcAft>
              <a:buClrTx/>
              <a:buSzTx/>
              <a:buFontTx/>
              <a:buNone/>
              <a:tabLst/>
              <a:defRPr/>
            </a:pPr>
            <a:r>
              <a:rPr kumimoji="0" lang="en-US" altLang="ja-JP"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Scope 1</a:t>
            </a:r>
            <a:r>
              <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en-US" altLang="ja-JP"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a:t>
            </a:r>
            <a:r>
              <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a:t>
            </a:r>
            <a:r>
              <a:rPr kumimoji="0" lang="en-US" altLang="ja-JP"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3</a:t>
            </a:r>
            <a:r>
              <a:rPr kumimoji="0" lang="ja-JP" altLang="en-US" sz="1000" b="0"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の全てが対象（本社＋連結子会社）</a:t>
            </a:r>
            <a:endParaRPr kumimoji="0" sz="10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pic>
        <p:nvPicPr>
          <p:cNvPr id="37" name="object 45">
            <a:extLst>
              <a:ext uri="{FF2B5EF4-FFF2-40B4-BE49-F238E27FC236}">
                <a16:creationId xmlns:a16="http://schemas.microsoft.com/office/drawing/2014/main" id="{2EA1398D-3CCB-06B9-EABF-9B4236C495E8}"/>
              </a:ext>
            </a:extLst>
          </p:cNvPr>
          <p:cNvPicPr/>
          <p:nvPr/>
        </p:nvPicPr>
        <p:blipFill>
          <a:blip r:embed="rId25" cstate="print">
            <a:extLst>
              <a:ext uri="{28A0092B-C50C-407E-A947-70E740481C1C}">
                <a14:useLocalDpi xmlns:a14="http://schemas.microsoft.com/office/drawing/2010/main"/>
              </a:ext>
            </a:extLst>
          </a:blip>
          <a:stretch>
            <a:fillRect/>
          </a:stretch>
        </p:blipFill>
        <p:spPr>
          <a:xfrm>
            <a:off x="2709986" y="3765870"/>
            <a:ext cx="466343" cy="563879"/>
          </a:xfrm>
          <a:prstGeom prst="rect">
            <a:avLst/>
          </a:prstGeom>
        </p:spPr>
      </p:pic>
      <p:pic>
        <p:nvPicPr>
          <p:cNvPr id="38" name="object 46">
            <a:extLst>
              <a:ext uri="{FF2B5EF4-FFF2-40B4-BE49-F238E27FC236}">
                <a16:creationId xmlns:a16="http://schemas.microsoft.com/office/drawing/2014/main" id="{02AE863B-5602-732A-540A-8874AFF1ABC4}"/>
              </a:ext>
            </a:extLst>
          </p:cNvPr>
          <p:cNvPicPr/>
          <p:nvPr/>
        </p:nvPicPr>
        <p:blipFill>
          <a:blip r:embed="rId26" cstate="print">
            <a:extLst>
              <a:ext uri="{28A0092B-C50C-407E-A947-70E740481C1C}">
                <a14:useLocalDpi xmlns:a14="http://schemas.microsoft.com/office/drawing/2010/main"/>
              </a:ext>
            </a:extLst>
          </a:blip>
          <a:stretch>
            <a:fillRect/>
          </a:stretch>
        </p:blipFill>
        <p:spPr>
          <a:xfrm>
            <a:off x="4995986" y="3765870"/>
            <a:ext cx="469391" cy="563879"/>
          </a:xfrm>
          <a:prstGeom prst="rect">
            <a:avLst/>
          </a:prstGeom>
        </p:spPr>
      </p:pic>
      <p:pic>
        <p:nvPicPr>
          <p:cNvPr id="39" name="object 47">
            <a:extLst>
              <a:ext uri="{FF2B5EF4-FFF2-40B4-BE49-F238E27FC236}">
                <a16:creationId xmlns:a16="http://schemas.microsoft.com/office/drawing/2014/main" id="{20DE5C52-CB3B-772E-A89D-092154BBBB33}"/>
              </a:ext>
            </a:extLst>
          </p:cNvPr>
          <p:cNvPicPr/>
          <p:nvPr/>
        </p:nvPicPr>
        <p:blipFill>
          <a:blip r:embed="rId27" cstate="print">
            <a:extLst>
              <a:ext uri="{28A0092B-C50C-407E-A947-70E740481C1C}">
                <a14:useLocalDpi xmlns:a14="http://schemas.microsoft.com/office/drawing/2010/main"/>
              </a:ext>
            </a:extLst>
          </a:blip>
          <a:stretch>
            <a:fillRect/>
          </a:stretch>
        </p:blipFill>
        <p:spPr>
          <a:xfrm>
            <a:off x="7278938" y="3765870"/>
            <a:ext cx="472439" cy="563879"/>
          </a:xfrm>
          <a:prstGeom prst="rect">
            <a:avLst/>
          </a:prstGeom>
        </p:spPr>
      </p:pic>
      <p:pic>
        <p:nvPicPr>
          <p:cNvPr id="40" name="object 48">
            <a:extLst>
              <a:ext uri="{FF2B5EF4-FFF2-40B4-BE49-F238E27FC236}">
                <a16:creationId xmlns:a16="http://schemas.microsoft.com/office/drawing/2014/main" id="{200C00C3-43B8-13FE-7679-5EED92A30583}"/>
              </a:ext>
            </a:extLst>
          </p:cNvPr>
          <p:cNvPicPr/>
          <p:nvPr/>
        </p:nvPicPr>
        <p:blipFill>
          <a:blip r:embed="rId28" cstate="print">
            <a:extLst>
              <a:ext uri="{28A0092B-C50C-407E-A947-70E740481C1C}">
                <a14:useLocalDpi xmlns:a14="http://schemas.microsoft.com/office/drawing/2010/main"/>
              </a:ext>
            </a:extLst>
          </a:blip>
          <a:stretch>
            <a:fillRect/>
          </a:stretch>
        </p:blipFill>
        <p:spPr>
          <a:xfrm>
            <a:off x="9613706" y="3762823"/>
            <a:ext cx="466343" cy="563879"/>
          </a:xfrm>
          <a:prstGeom prst="rect">
            <a:avLst/>
          </a:prstGeom>
        </p:spPr>
      </p:pic>
      <p:pic>
        <p:nvPicPr>
          <p:cNvPr id="41" name="object 49">
            <a:extLst>
              <a:ext uri="{FF2B5EF4-FFF2-40B4-BE49-F238E27FC236}">
                <a16:creationId xmlns:a16="http://schemas.microsoft.com/office/drawing/2014/main" id="{5146B137-EE86-064D-C369-E4464CC5C603}"/>
              </a:ext>
            </a:extLst>
          </p:cNvPr>
          <p:cNvPicPr/>
          <p:nvPr/>
        </p:nvPicPr>
        <p:blipFill>
          <a:blip r:embed="rId29" cstate="print">
            <a:extLst>
              <a:ext uri="{28A0092B-C50C-407E-A947-70E740481C1C}">
                <a14:useLocalDpi xmlns:a14="http://schemas.microsoft.com/office/drawing/2010/main"/>
              </a:ext>
            </a:extLst>
          </a:blip>
          <a:stretch>
            <a:fillRect/>
          </a:stretch>
        </p:blipFill>
        <p:spPr>
          <a:xfrm>
            <a:off x="359978" y="3765870"/>
            <a:ext cx="505967" cy="563879"/>
          </a:xfrm>
          <a:prstGeom prst="rect">
            <a:avLst/>
          </a:prstGeom>
        </p:spPr>
      </p:pic>
      <p:pic>
        <p:nvPicPr>
          <p:cNvPr id="42" name="object 50">
            <a:extLst>
              <a:ext uri="{FF2B5EF4-FFF2-40B4-BE49-F238E27FC236}">
                <a16:creationId xmlns:a16="http://schemas.microsoft.com/office/drawing/2014/main" id="{971B7990-E51D-9737-F40D-6A27311AF272}"/>
              </a:ext>
            </a:extLst>
          </p:cNvPr>
          <p:cNvPicPr/>
          <p:nvPr/>
        </p:nvPicPr>
        <p:blipFill>
          <a:blip r:embed="rId30" cstate="print">
            <a:extLst>
              <a:ext uri="{28A0092B-C50C-407E-A947-70E740481C1C}">
                <a14:useLocalDpi xmlns:a14="http://schemas.microsoft.com/office/drawing/2010/main"/>
              </a:ext>
            </a:extLst>
          </a:blip>
          <a:stretch>
            <a:fillRect/>
          </a:stretch>
        </p:blipFill>
        <p:spPr>
          <a:xfrm>
            <a:off x="1289618" y="4384614"/>
            <a:ext cx="2770631" cy="646175"/>
          </a:xfrm>
          <a:prstGeom prst="rect">
            <a:avLst/>
          </a:prstGeom>
        </p:spPr>
      </p:pic>
      <p:pic>
        <p:nvPicPr>
          <p:cNvPr id="43" name="object 51">
            <a:extLst>
              <a:ext uri="{FF2B5EF4-FFF2-40B4-BE49-F238E27FC236}">
                <a16:creationId xmlns:a16="http://schemas.microsoft.com/office/drawing/2014/main" id="{66255CA9-F08E-C4AC-9D5E-0F78EE5C3D58}"/>
              </a:ext>
            </a:extLst>
          </p:cNvPr>
          <p:cNvPicPr/>
          <p:nvPr/>
        </p:nvPicPr>
        <p:blipFill>
          <a:blip r:embed="rId31" cstate="print">
            <a:extLst>
              <a:ext uri="{28A0092B-C50C-407E-A947-70E740481C1C}">
                <a14:useLocalDpi xmlns:a14="http://schemas.microsoft.com/office/drawing/2010/main"/>
              </a:ext>
            </a:extLst>
          </a:blip>
          <a:stretch>
            <a:fillRect/>
          </a:stretch>
        </p:blipFill>
        <p:spPr>
          <a:xfrm>
            <a:off x="4203506" y="4384614"/>
            <a:ext cx="1773935" cy="646175"/>
          </a:xfrm>
          <a:prstGeom prst="rect">
            <a:avLst/>
          </a:prstGeom>
        </p:spPr>
      </p:pic>
      <p:pic>
        <p:nvPicPr>
          <p:cNvPr id="44" name="object 52">
            <a:extLst>
              <a:ext uri="{FF2B5EF4-FFF2-40B4-BE49-F238E27FC236}">
                <a16:creationId xmlns:a16="http://schemas.microsoft.com/office/drawing/2014/main" id="{46D1F2F1-17DB-69D7-50B2-250D90C43F18}"/>
              </a:ext>
            </a:extLst>
          </p:cNvPr>
          <p:cNvPicPr/>
          <p:nvPr/>
        </p:nvPicPr>
        <p:blipFill>
          <a:blip r:embed="rId32" cstate="print">
            <a:extLst>
              <a:ext uri="{28A0092B-C50C-407E-A947-70E740481C1C}">
                <a14:useLocalDpi xmlns:a14="http://schemas.microsoft.com/office/drawing/2010/main"/>
              </a:ext>
            </a:extLst>
          </a:blip>
          <a:stretch>
            <a:fillRect/>
          </a:stretch>
        </p:blipFill>
        <p:spPr>
          <a:xfrm>
            <a:off x="6492557" y="4384614"/>
            <a:ext cx="1776971" cy="646172"/>
          </a:xfrm>
          <a:prstGeom prst="rect">
            <a:avLst/>
          </a:prstGeom>
        </p:spPr>
      </p:pic>
      <p:pic>
        <p:nvPicPr>
          <p:cNvPr id="45" name="object 53">
            <a:extLst>
              <a:ext uri="{FF2B5EF4-FFF2-40B4-BE49-F238E27FC236}">
                <a16:creationId xmlns:a16="http://schemas.microsoft.com/office/drawing/2014/main" id="{6C2115D4-B96C-646C-0982-59D56419A530}"/>
              </a:ext>
            </a:extLst>
          </p:cNvPr>
          <p:cNvPicPr/>
          <p:nvPr/>
        </p:nvPicPr>
        <p:blipFill>
          <a:blip r:embed="rId33" cstate="print">
            <a:extLst>
              <a:ext uri="{28A0092B-C50C-407E-A947-70E740481C1C}">
                <a14:useLocalDpi xmlns:a14="http://schemas.microsoft.com/office/drawing/2010/main"/>
              </a:ext>
            </a:extLst>
          </a:blip>
          <a:stretch>
            <a:fillRect/>
          </a:stretch>
        </p:blipFill>
        <p:spPr>
          <a:xfrm>
            <a:off x="8784653" y="4384614"/>
            <a:ext cx="1776971" cy="646172"/>
          </a:xfrm>
          <a:prstGeom prst="rect">
            <a:avLst/>
          </a:prstGeom>
        </p:spPr>
      </p:pic>
      <p:sp>
        <p:nvSpPr>
          <p:cNvPr id="46" name="object 43">
            <a:extLst>
              <a:ext uri="{FF2B5EF4-FFF2-40B4-BE49-F238E27FC236}">
                <a16:creationId xmlns:a16="http://schemas.microsoft.com/office/drawing/2014/main" id="{A3A73F74-E0C9-98AB-AED2-B9C4DABB7E85}"/>
              </a:ext>
            </a:extLst>
          </p:cNvPr>
          <p:cNvSpPr txBox="1"/>
          <p:nvPr/>
        </p:nvSpPr>
        <p:spPr>
          <a:xfrm>
            <a:off x="479834" y="2197719"/>
            <a:ext cx="2426970" cy="672465"/>
          </a:xfrm>
          <a:prstGeom prst="rect">
            <a:avLst/>
          </a:prstGeom>
        </p:spPr>
        <p:txBody>
          <a:bodyPr vert="horz" wrap="square" lIns="0" tIns="1270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2020</a:t>
            </a:r>
            <a:r>
              <a:rPr kumimoji="0" lang="ja-JP" altLang="en-US"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年代中</a:t>
            </a:r>
            <a:endParaRPr kumimoji="0" lang="ja-JP" altLang="en-US" sz="14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a:p>
            <a:pPr marL="0" marR="5080" lvl="0" indent="-635" algn="ctr" defTabSz="914400" eaLnBrk="1" fontAlgn="auto" latinLnBrk="0" hangingPunct="1">
              <a:lnSpc>
                <a:spcPct val="1016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ネットゼロ・エミッション</a:t>
            </a:r>
            <a:endParaRPr kumimoji="0" lang="en-US" altLang="ja-JP"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endParaRPr>
          </a:p>
          <a:p>
            <a:pPr marL="0" marR="5080" lvl="0" indent="-635" algn="ctr" defTabSz="914400" eaLnBrk="1" fontAlgn="auto" latinLnBrk="0" hangingPunct="1">
              <a:lnSpc>
                <a:spcPct val="101600"/>
              </a:lnSpc>
              <a:spcBef>
                <a:spcPts val="0"/>
              </a:spcBef>
              <a:spcAft>
                <a:spcPts val="0"/>
              </a:spcAft>
              <a:buClrTx/>
              <a:buSzTx/>
              <a:buFontTx/>
              <a:buNone/>
              <a:tabLst/>
              <a:defRPr/>
            </a:pPr>
            <a:r>
              <a:rPr kumimoji="0" lang="ja-JP" altLang="en-US" sz="1400" b="1" i="0" u="none" strike="noStrike" kern="0" cap="none" spc="0" normalizeH="0" baseline="0" noProof="0">
                <a:ln>
                  <a:noFill/>
                </a:ln>
                <a:solidFill>
                  <a:srgbClr val="005295"/>
                </a:solidFill>
                <a:effectLst/>
                <a:uLnTx/>
                <a:uFillTx/>
                <a:latin typeface="游ゴシック Medium" panose="020B0500000000000000" pitchFamily="50" charset="-128"/>
                <a:ea typeface="游ゴシック Medium" panose="020B0500000000000000" pitchFamily="50" charset="-128"/>
                <a:cs typeface="YuGothic"/>
              </a:rPr>
              <a:t>外航船の運航を開始します</a:t>
            </a:r>
            <a:endParaRPr kumimoji="0" lang="ja-JP" altLang="en-US" sz="14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47" name="角丸四角形 46">
            <a:extLst>
              <a:ext uri="{FF2B5EF4-FFF2-40B4-BE49-F238E27FC236}">
                <a16:creationId xmlns:a16="http://schemas.microsoft.com/office/drawing/2014/main" id="{E9D2AADB-2DC4-04AF-3D13-066AD1DED76B}"/>
              </a:ext>
            </a:extLst>
          </p:cNvPr>
          <p:cNvSpPr/>
          <p:nvPr/>
        </p:nvSpPr>
        <p:spPr>
          <a:xfrm>
            <a:off x="7686162" y="1783880"/>
            <a:ext cx="3960560" cy="1356946"/>
          </a:xfrm>
          <a:prstGeom prst="roundRect">
            <a:avLst>
              <a:gd name="adj" fmla="val 262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48" name="角丸四角形 47">
            <a:extLst>
              <a:ext uri="{FF2B5EF4-FFF2-40B4-BE49-F238E27FC236}">
                <a16:creationId xmlns:a16="http://schemas.microsoft.com/office/drawing/2014/main" id="{71BDA679-5949-F7F9-22A2-13090FE890E2}"/>
              </a:ext>
            </a:extLst>
          </p:cNvPr>
          <p:cNvSpPr/>
          <p:nvPr/>
        </p:nvSpPr>
        <p:spPr>
          <a:xfrm>
            <a:off x="3764484" y="2016705"/>
            <a:ext cx="3281012" cy="1008000"/>
          </a:xfrm>
          <a:prstGeom prst="roundRect">
            <a:avLst>
              <a:gd name="adj" fmla="val 2281"/>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49" name="角丸四角形 48">
            <a:extLst>
              <a:ext uri="{FF2B5EF4-FFF2-40B4-BE49-F238E27FC236}">
                <a16:creationId xmlns:a16="http://schemas.microsoft.com/office/drawing/2014/main" id="{0A176F3E-5FFC-1A97-037C-D56F899A3726}"/>
              </a:ext>
            </a:extLst>
          </p:cNvPr>
          <p:cNvSpPr/>
          <p:nvPr/>
        </p:nvSpPr>
        <p:spPr>
          <a:xfrm>
            <a:off x="338532" y="2016335"/>
            <a:ext cx="2694986" cy="1008000"/>
          </a:xfrm>
          <a:prstGeom prst="roundRect">
            <a:avLst>
              <a:gd name="adj" fmla="val 2281"/>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50" name="object 25">
            <a:extLst>
              <a:ext uri="{FF2B5EF4-FFF2-40B4-BE49-F238E27FC236}">
                <a16:creationId xmlns:a16="http://schemas.microsoft.com/office/drawing/2014/main" id="{49739015-FDB8-B114-D22E-CD5279919BEA}"/>
              </a:ext>
            </a:extLst>
          </p:cNvPr>
          <p:cNvSpPr txBox="1"/>
          <p:nvPr/>
        </p:nvSpPr>
        <p:spPr>
          <a:xfrm>
            <a:off x="219105" y="711210"/>
            <a:ext cx="11427618" cy="596317"/>
          </a:xfrm>
          <a:prstGeom prst="rect">
            <a:avLst/>
          </a:prstGeom>
        </p:spPr>
        <p:txBody>
          <a:bodyPr vert="horz" wrap="square" lIns="0" tIns="41910" rIns="0" bIns="0" rtlCol="0">
            <a:spAutoFit/>
          </a:bodyPr>
          <a:lstStyle/>
          <a:p>
            <a:pPr marL="82550" marR="0" lvl="0" indent="0" defTabSz="914400" eaLnBrk="1" fontAlgn="auto" latinLnBrk="0" hangingPunct="1">
              <a:lnSpc>
                <a:spcPct val="100000"/>
              </a:lnSpc>
              <a:spcBef>
                <a:spcPts val="330"/>
              </a:spcBef>
              <a:spcAft>
                <a:spcPts val="0"/>
              </a:spcAft>
              <a:buClrTx/>
              <a:buSzTx/>
              <a:buFontTx/>
              <a:buNone/>
              <a:tabLst/>
              <a:defRPr/>
            </a:pPr>
            <a:r>
              <a:rPr kumimoji="0" sz="1200" b="0" i="0" u="none" strike="noStrike" kern="0" cap="none" spc="0" normalizeH="0" baseline="0" noProof="0">
                <a:ln>
                  <a:noFill/>
                </a:ln>
                <a:solidFill>
                  <a:srgbClr val="FFFFFF"/>
                </a:solidFill>
                <a:effectLst/>
                <a:uLnTx/>
                <a:uFillTx/>
                <a:latin typeface="游ゴシック Medium" panose="020B0500000000000000" pitchFamily="50" charset="-128"/>
                <a:ea typeface="游ゴシック Medium" panose="020B0500000000000000" pitchFamily="50" charset="-128"/>
                <a:cs typeface="YuGo-Medium"/>
              </a:rPr>
              <a:t>次世代の地球に生きるすべての生命のために、商船三井グループは、ステークホルダーとの共創を通して環境課題の解決に取り組みます。海洋環境保全、生物多様性保護、大気汚染防止などの重要課題に加え、とりわけ喫緊の対応が求められる気候変動対策においては、グループ総力を挙げて「2050年ネットゼロ・エミッション」を目指し、人・社会・地球のサステナブルな発展に貢献して、青い海から豊かな未来をひらきます。</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53" name="スライド番号プレースホルダー 3">
            <a:extLst>
              <a:ext uri="{FF2B5EF4-FFF2-40B4-BE49-F238E27FC236}">
                <a16:creationId xmlns:a16="http://schemas.microsoft.com/office/drawing/2014/main" id="{E2B56C03-AACA-4ACE-B2FC-51D01BD61B4A}"/>
              </a:ext>
            </a:extLst>
          </p:cNvPr>
          <p:cNvSpPr txBox="1">
            <a:spLocks/>
          </p:cNvSpPr>
          <p:nvPr/>
        </p:nvSpPr>
        <p:spPr>
          <a:xfrm>
            <a:off x="9204960" y="6504611"/>
            <a:ext cx="2743200" cy="153888"/>
          </a:xfrm>
          <a:prstGeom prst="rect">
            <a:avLst/>
          </a:prstGeom>
        </p:spPr>
        <p:txBody>
          <a:bodyPr/>
          <a:lstStyle>
            <a:defPPr>
              <a:defRPr kern="0"/>
            </a:defPPr>
          </a:lstStyle>
          <a:p>
            <a:pPr marL="38100" marR="0" lvl="0" indent="0" algn="r" defTabSz="914400" eaLnBrk="1" fontAlgn="auto" latinLnBrk="0" hangingPunct="1">
              <a:lnSpc>
                <a:spcPct val="100000"/>
              </a:lnSpc>
              <a:spcBef>
                <a:spcPts val="160"/>
              </a:spcBef>
              <a:spcAft>
                <a:spcPts val="0"/>
              </a:spcAft>
              <a:buClrTx/>
              <a:buSzTx/>
              <a:buFontTx/>
              <a:buNone/>
              <a:tabLst/>
              <a:defRPr/>
            </a:pPr>
            <a:fld id="{81D60167-4931-47E6-BA6A-407CBD079E47}" type="slidenum">
              <a:rPr kumimoji="0" lang="en-US" altLang="ja-JP" sz="1000" b="0" i="0" u="none" strike="noStrike" kern="0" cap="none" spc="0" normalizeH="0" baseline="0" noProof="0" smtClean="0">
                <a:ln>
                  <a:noFill/>
                </a:ln>
                <a:solidFill>
                  <a:srgbClr val="FFFFFF"/>
                </a:solidFill>
                <a:effectLst/>
                <a:uLnTx/>
                <a:uFillTx/>
                <a:latin typeface="游ゴシック Medium"/>
                <a:ea typeface="游ゴシック Medium"/>
              </a:rPr>
              <a:pPr marL="38100" marR="0" lvl="0" indent="0" algn="r" defTabSz="914400" eaLnBrk="1" fontAlgn="auto" latinLnBrk="0" hangingPunct="1">
                <a:lnSpc>
                  <a:spcPct val="100000"/>
                </a:lnSpc>
                <a:spcBef>
                  <a:spcPts val="160"/>
                </a:spcBef>
                <a:spcAft>
                  <a:spcPts val="0"/>
                </a:spcAft>
                <a:buClrTx/>
                <a:buSzTx/>
                <a:buFontTx/>
                <a:buNone/>
                <a:tabLst/>
                <a:defRPr/>
              </a:pPr>
              <a:t>7</a:t>
            </a:fld>
            <a:endParaRPr kumimoji="0" lang="ja-JP" altLang="en-US" sz="1000" b="0" i="0" u="none" strike="noStrike" kern="0" cap="none" spc="0" normalizeH="0" baseline="0" noProof="0">
              <a:ln>
                <a:noFill/>
              </a:ln>
              <a:solidFill>
                <a:srgbClr val="FFFFFF"/>
              </a:solidFill>
              <a:effectLst/>
              <a:uLnTx/>
              <a:uFillTx/>
              <a:latin typeface="游ゴシック Medium"/>
              <a:ea typeface="游ゴシック Medium"/>
            </a:endParaRPr>
          </a:p>
        </p:txBody>
      </p:sp>
    </p:spTree>
    <p:extLst>
      <p:ext uri="{BB962C8B-B14F-4D97-AF65-F5344CB8AC3E}">
        <p14:creationId xmlns:p14="http://schemas.microsoft.com/office/powerpoint/2010/main" val="443082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9E53137-3FB7-4AA8-B9BF-4E67178DD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6" progId="TCLayout.ActiveDocument.1">
                  <p:embed/>
                </p:oleObj>
              </mc:Choice>
              <mc:Fallback>
                <p:oleObj name="think-cell スライド" r:id="rId4" imgW="473" imgH="476" progId="TCLayout.ActiveDocument.1">
                  <p:embed/>
                  <p:pic>
                    <p:nvPicPr>
                      <p:cNvPr id="7" name="think-cell data - do not delete" hidden="1">
                        <a:extLst>
                          <a:ext uri="{FF2B5EF4-FFF2-40B4-BE49-F238E27FC236}">
                            <a16:creationId xmlns:a16="http://schemas.microsoft.com/office/drawing/2014/main" id="{B9E53137-3FB7-4AA8-B9BF-4E67178DD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正方形/長方形 40">
            <a:extLst>
              <a:ext uri="{FF2B5EF4-FFF2-40B4-BE49-F238E27FC236}">
                <a16:creationId xmlns:a16="http://schemas.microsoft.com/office/drawing/2014/main" id="{11DA6D3E-2C19-AE17-2982-3B49B87049E8}"/>
              </a:ext>
            </a:extLst>
          </p:cNvPr>
          <p:cNvSpPr/>
          <p:nvPr/>
        </p:nvSpPr>
        <p:spPr>
          <a:xfrm>
            <a:off x="4260073" y="2209561"/>
            <a:ext cx="6834970" cy="3669718"/>
          </a:xfrm>
          <a:prstGeom prst="rect">
            <a:avLst/>
          </a:prstGeom>
          <a:solidFill>
            <a:schemeClr val="bg1"/>
          </a:solidFill>
          <a:ln>
            <a:noFill/>
          </a:ln>
          <a:effectLst>
            <a:outerShdw blurRad="63500" sx="102000" sy="102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grpSp>
        <p:nvGrpSpPr>
          <p:cNvPr id="39" name="object 10">
            <a:extLst>
              <a:ext uri="{FF2B5EF4-FFF2-40B4-BE49-F238E27FC236}">
                <a16:creationId xmlns:a16="http://schemas.microsoft.com/office/drawing/2014/main" id="{9E6BD840-D7B3-48DF-A5D8-B3760365CA03}"/>
              </a:ext>
            </a:extLst>
          </p:cNvPr>
          <p:cNvGrpSpPr/>
          <p:nvPr/>
        </p:nvGrpSpPr>
        <p:grpSpPr>
          <a:xfrm>
            <a:off x="4367643" y="2475110"/>
            <a:ext cx="4808561" cy="3326833"/>
            <a:chOff x="6144767" y="2878180"/>
            <a:chExt cx="3630163" cy="2511551"/>
          </a:xfrm>
        </p:grpSpPr>
        <p:pic>
          <p:nvPicPr>
            <p:cNvPr id="42" name="object 11">
              <a:extLst>
                <a:ext uri="{FF2B5EF4-FFF2-40B4-BE49-F238E27FC236}">
                  <a16:creationId xmlns:a16="http://schemas.microsoft.com/office/drawing/2014/main" id="{34E74033-640F-471A-81D7-7FA4A6E4F923}"/>
                </a:ext>
              </a:extLst>
            </p:cNvPr>
            <p:cNvPicPr/>
            <p:nvPr/>
          </p:nvPicPr>
          <p:blipFill>
            <a:blip r:embed="rId6" cstate="print">
              <a:extLst>
                <a:ext uri="{28A0092B-C50C-407E-A947-70E740481C1C}">
                  <a14:useLocalDpi xmlns:a14="http://schemas.microsoft.com/office/drawing/2010/main"/>
                </a:ext>
              </a:extLst>
            </a:blip>
            <a:stretch>
              <a:fillRect/>
            </a:stretch>
          </p:blipFill>
          <p:spPr>
            <a:xfrm>
              <a:off x="6144767" y="2878180"/>
              <a:ext cx="3630163" cy="2511551"/>
            </a:xfrm>
            <a:prstGeom prst="rect">
              <a:avLst/>
            </a:prstGeom>
          </p:spPr>
        </p:pic>
        <p:sp>
          <p:nvSpPr>
            <p:cNvPr id="46" name="object 12">
              <a:extLst>
                <a:ext uri="{FF2B5EF4-FFF2-40B4-BE49-F238E27FC236}">
                  <a16:creationId xmlns:a16="http://schemas.microsoft.com/office/drawing/2014/main" id="{F3EA6350-7DF6-41FA-BB62-CE83CD8D7EB1}"/>
                </a:ext>
              </a:extLst>
            </p:cNvPr>
            <p:cNvSpPr/>
            <p:nvPr/>
          </p:nvSpPr>
          <p:spPr>
            <a:xfrm>
              <a:off x="9679194" y="5069090"/>
              <a:ext cx="0" cy="55244"/>
            </a:xfrm>
            <a:custGeom>
              <a:avLst/>
              <a:gdLst/>
              <a:ahLst/>
              <a:cxnLst/>
              <a:rect l="l" t="t" r="r" b="b"/>
              <a:pathLst>
                <a:path h="55245">
                  <a:moveTo>
                    <a:pt x="0" y="55168"/>
                  </a:moveTo>
                  <a:lnTo>
                    <a:pt x="0" y="0"/>
                  </a:lnTo>
                </a:path>
              </a:pathLst>
            </a:custGeom>
            <a:ln w="11976">
              <a:solidFill>
                <a:srgbClr val="57565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7" name="object 8">
            <a:extLst>
              <a:ext uri="{FF2B5EF4-FFF2-40B4-BE49-F238E27FC236}">
                <a16:creationId xmlns:a16="http://schemas.microsoft.com/office/drawing/2014/main" id="{EB04EA98-5D7C-49A8-8808-5E9F1A96F401}"/>
              </a:ext>
            </a:extLst>
          </p:cNvPr>
          <p:cNvSpPr txBox="1"/>
          <p:nvPr/>
        </p:nvSpPr>
        <p:spPr>
          <a:xfrm>
            <a:off x="6424067" y="2531680"/>
            <a:ext cx="2536382" cy="398186"/>
          </a:xfrm>
          <a:prstGeom prst="rect">
            <a:avLst/>
          </a:prstGeom>
        </p:spPr>
        <p:txBody>
          <a:bodyPr vert="horz" wrap="square" lIns="0" tIns="15875" rIns="0" bIns="0" rtlCol="0">
            <a:spAutoFit/>
          </a:bodyPr>
          <a:lstStyle/>
          <a:p>
            <a:pPr marL="0" marR="5080" lvl="0" indent="0" algn="r" defTabSz="914400" eaLnBrk="1" fontAlgn="auto" latinLnBrk="0" hangingPunct="1">
              <a:lnSpc>
                <a:spcPct val="100000"/>
              </a:lnSpc>
              <a:spcBef>
                <a:spcPts val="125"/>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効率運航・省エネ設備導入</a:t>
            </a:r>
          </a:p>
          <a:p>
            <a:pPr marL="0" marR="5080" lvl="0" indent="0" algn="r" defTabSz="914400" eaLnBrk="1" fontAlgn="auto" latinLnBrk="0" hangingPunct="1">
              <a:lnSpc>
                <a:spcPct val="100000"/>
              </a:lnSpc>
              <a:spcBef>
                <a:spcPts val="125"/>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による削減</a:t>
            </a:r>
            <a:endParaRPr kumimoji="0" lang="ja-JP" altLang="en-US" sz="1200" b="1" i="0" u="none" strike="noStrike" kern="0" cap="none" spc="0" normalizeH="0" baseline="0" noProof="0">
              <a:ln>
                <a:noFill/>
              </a:ln>
              <a:solidFill>
                <a:sysClr val="windowText" lastClr="000000"/>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p:txBody>
      </p:sp>
      <p:sp>
        <p:nvSpPr>
          <p:cNvPr id="18" name="object 9">
            <a:extLst>
              <a:ext uri="{FF2B5EF4-FFF2-40B4-BE49-F238E27FC236}">
                <a16:creationId xmlns:a16="http://schemas.microsoft.com/office/drawing/2014/main" id="{19A12A6F-8906-44EA-8422-05DFFD83337F}"/>
              </a:ext>
            </a:extLst>
          </p:cNvPr>
          <p:cNvSpPr txBox="1"/>
          <p:nvPr/>
        </p:nvSpPr>
        <p:spPr>
          <a:xfrm>
            <a:off x="8257136" y="4610766"/>
            <a:ext cx="735675" cy="398186"/>
          </a:xfrm>
          <a:prstGeom prst="rect">
            <a:avLst/>
          </a:prstGeom>
        </p:spPr>
        <p:txBody>
          <a:bodyPr vert="horz" wrap="square" lIns="0" tIns="15875" rIns="0" bIns="0" rtlCol="0">
            <a:spAutoFit/>
          </a:bodyPr>
          <a:lstStyle/>
          <a:p>
            <a:pPr marL="12700" marR="0" lvl="0" indent="0" defTabSz="914400" eaLnBrk="1" fontAlgn="auto" latinLnBrk="0" hangingPunct="1">
              <a:lnSpc>
                <a:spcPct val="100000"/>
              </a:lnSpc>
              <a:spcBef>
                <a:spcPts val="125"/>
              </a:spcBef>
              <a:spcAft>
                <a:spcPts val="0"/>
              </a:spcAft>
              <a:buClrTx/>
              <a:buSzTx/>
              <a:buFontTx/>
              <a:buNone/>
              <a:tabLst/>
              <a:defRPr/>
            </a:pPr>
            <a:r>
              <a:rPr kumimoji="0" lang="ja-JP" altLang="en-US" sz="1200" b="1" i="0" u="none" strike="noStrike" kern="0" cap="none" spc="-12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バイオ燃料</a:t>
            </a:r>
            <a:endParaRPr kumimoji="0" lang="en-US" altLang="ja-JP" sz="1200" b="1" i="0" u="none" strike="noStrike" kern="0" cap="none" spc="-12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a:p>
            <a:pPr marL="12700" marR="0" lvl="0" indent="0" defTabSz="914400" eaLnBrk="1" fontAlgn="auto" latinLnBrk="0" hangingPunct="1">
              <a:lnSpc>
                <a:spcPct val="100000"/>
              </a:lnSpc>
              <a:spcBef>
                <a:spcPts val="125"/>
              </a:spcBef>
              <a:spcAft>
                <a:spcPts val="0"/>
              </a:spcAft>
              <a:buClrTx/>
              <a:buSzTx/>
              <a:buFontTx/>
              <a:buNone/>
              <a:tabLst/>
              <a:defRPr/>
            </a:pPr>
            <a:r>
              <a:rPr kumimoji="0" lang="ja-JP" altLang="en-US" sz="1200" b="1" i="0" u="none" strike="noStrike" kern="0" cap="none" spc="-12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による削減</a:t>
            </a:r>
            <a:endParaRPr kumimoji="0" lang="ja-JP" altLang="en-US" sz="1200" b="1" i="0" u="none" strike="noStrike" kern="0" cap="none" spc="0" normalizeH="0" baseline="0" noProof="0">
              <a:ln>
                <a:noFill/>
              </a:ln>
              <a:solidFill>
                <a:sysClr val="windowText" lastClr="000000"/>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p:txBody>
      </p:sp>
      <p:sp>
        <p:nvSpPr>
          <p:cNvPr id="24" name="テキスト ボックス 23">
            <a:extLst>
              <a:ext uri="{FF2B5EF4-FFF2-40B4-BE49-F238E27FC236}">
                <a16:creationId xmlns:a16="http://schemas.microsoft.com/office/drawing/2014/main" id="{2BFD28E4-23C2-498D-AC44-85EA93243C8D}"/>
              </a:ext>
            </a:extLst>
          </p:cNvPr>
          <p:cNvSpPr txBox="1"/>
          <p:nvPr/>
        </p:nvSpPr>
        <p:spPr>
          <a:xfrm>
            <a:off x="7757361" y="3854536"/>
            <a:ext cx="1282645" cy="461665"/>
          </a:xfrm>
          <a:prstGeom prst="rect">
            <a:avLst/>
          </a:prstGeom>
          <a:noFill/>
        </p:spPr>
        <p:txBody>
          <a:bodyPr wrap="square">
            <a:spAutoFit/>
          </a:bodyPr>
          <a:lstStyle/>
          <a:p>
            <a:pPr marL="0" marR="5080" lvl="0" indent="0" algn="r" defTabSz="914400" eaLnBrk="1" fontAlgn="auto" latinLnBrk="0" hangingPunct="1">
              <a:lnSpc>
                <a:spcPct val="100000"/>
              </a:lnSpc>
              <a:spcBef>
                <a:spcPts val="1690"/>
              </a:spcBef>
              <a:spcAft>
                <a:spcPts val="0"/>
              </a:spcAft>
              <a:buClrTx/>
              <a:buSzTx/>
              <a:buFontTx/>
              <a:buNone/>
              <a:tabLst/>
              <a:defRPr/>
            </a:pPr>
            <a:r>
              <a:rPr kumimoji="0" lang="ja-JP" altLang="en-US" sz="1200" b="1" i="0" u="none" strike="noStrike" kern="0" cap="none" spc="-165"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アンモニア・水素 による削減</a:t>
            </a:r>
            <a:endParaRPr kumimoji="0" lang="ja-JP" altLang="en-US" sz="1200" b="1" i="0" u="none" strike="noStrike" kern="0" cap="none" spc="0" normalizeH="0" baseline="0" noProof="0">
              <a:ln>
                <a:noFill/>
              </a:ln>
              <a:solidFill>
                <a:sysClr val="windowText" lastClr="000000"/>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p:txBody>
      </p:sp>
      <p:sp>
        <p:nvSpPr>
          <p:cNvPr id="25" name="テキスト ボックス 24">
            <a:extLst>
              <a:ext uri="{FF2B5EF4-FFF2-40B4-BE49-F238E27FC236}">
                <a16:creationId xmlns:a16="http://schemas.microsoft.com/office/drawing/2014/main" id="{0140B347-A780-4DF6-B87D-F08E2C0267AE}"/>
              </a:ext>
            </a:extLst>
          </p:cNvPr>
          <p:cNvSpPr txBox="1"/>
          <p:nvPr/>
        </p:nvSpPr>
        <p:spPr>
          <a:xfrm>
            <a:off x="6013578" y="3057571"/>
            <a:ext cx="3026428" cy="521361"/>
          </a:xfrm>
          <a:prstGeom prst="rect">
            <a:avLst/>
          </a:prstGeom>
          <a:noFill/>
        </p:spPr>
        <p:txBody>
          <a:bodyPr wrap="square">
            <a:spAutoFit/>
          </a:bodyPr>
          <a:lstStyle/>
          <a:p>
            <a:pPr marL="12700" marR="5080" lvl="0" indent="1169035" algn="r" defTabSz="914400" eaLnBrk="1" fontAlgn="auto" latinLnBrk="0" hangingPunct="1">
              <a:lnSpc>
                <a:spcPts val="1100"/>
              </a:lnSpc>
              <a:spcBef>
                <a:spcPts val="0"/>
              </a:spcBef>
              <a:spcAft>
                <a:spcPts val="0"/>
              </a:spcAft>
              <a:buClrTx/>
              <a:buSzTx/>
              <a:buFontTx/>
              <a:buNone/>
              <a:tabLst/>
              <a:defRPr/>
            </a:pPr>
            <a:r>
              <a:rPr kumimoji="0" lang="en-US" altLang="ja-JP"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LNG</a:t>
            </a:r>
            <a:r>
              <a:rPr kumimoji="0" lang="ja-JP" altLang="en-US"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メタノール</a:t>
            </a:r>
            <a:r>
              <a:rPr kumimoji="0" lang="ja-JP" altLang="en-US" sz="1200" b="1" i="0" u="none" strike="noStrike" kern="0" cap="none" spc="0" normalizeH="0" baseline="0" noProof="0">
                <a:ln>
                  <a:noFill/>
                </a:ln>
                <a:solidFill>
                  <a:srgbClr val="FFFFFF"/>
                </a:solidFill>
                <a:effectLst>
                  <a:outerShdw blurRad="38100" dist="38100" dir="2700000" algn="tl">
                    <a:srgbClr val="000000">
                      <a:alpha val="43137"/>
                    </a:srgbClr>
                  </a:outerShdw>
                </a:effectLst>
                <a:uLnTx/>
                <a:uFillTx/>
                <a:latin typeface="游ゴシック" panose="020B0400000000000000" pitchFamily="50" charset="-128"/>
                <a:ea typeface="游ゴシック" panose="020B0400000000000000" pitchFamily="50" charset="-128"/>
                <a:cs typeface="YuGo-Medium"/>
              </a:rPr>
              <a:t>→</a:t>
            </a:r>
            <a:r>
              <a:rPr kumimoji="0" lang="ja-JP" altLang="en-US"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 </a:t>
            </a:r>
            <a:br>
              <a:rPr kumimoji="0" lang="en-US" altLang="ja-JP"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br>
            <a:r>
              <a:rPr kumimoji="0" lang="en-US" altLang="ja-JP"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e/</a:t>
            </a:r>
            <a:r>
              <a:rPr kumimoji="0" lang="ja-JP" altLang="en-US"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バイオ メタン・メタノール</a:t>
            </a:r>
            <a:endParaRPr kumimoji="0" lang="en-US" altLang="ja-JP"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a:p>
            <a:pPr marL="12700" marR="5080" lvl="0" indent="1169035" algn="r" defTabSz="914400" eaLnBrk="1" fontAlgn="auto" latinLnBrk="0" hangingPunct="1">
              <a:lnSpc>
                <a:spcPts val="11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による削減</a:t>
            </a:r>
            <a:endParaRPr kumimoji="0" lang="ja-JP" altLang="en-US" sz="1200" b="1" i="0" u="none" strike="noStrike" kern="0" cap="none" spc="0" normalizeH="0" baseline="0" noProof="0">
              <a:ln>
                <a:noFill/>
              </a:ln>
              <a:solidFill>
                <a:sysClr val="windowText" lastClr="000000"/>
              </a:solidFill>
              <a:effectLst>
                <a:outerShdw blurRad="50800" dist="38100" dir="5400000" algn="t"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p:txBody>
      </p:sp>
      <p:sp>
        <p:nvSpPr>
          <p:cNvPr id="36" name="object 9">
            <a:extLst>
              <a:ext uri="{FF2B5EF4-FFF2-40B4-BE49-F238E27FC236}">
                <a16:creationId xmlns:a16="http://schemas.microsoft.com/office/drawing/2014/main" id="{1318297B-43C7-4F7C-B797-B12EE31E80EB}"/>
              </a:ext>
            </a:extLst>
          </p:cNvPr>
          <p:cNvSpPr txBox="1"/>
          <p:nvPr/>
        </p:nvSpPr>
        <p:spPr>
          <a:xfrm>
            <a:off x="4717017" y="5097133"/>
            <a:ext cx="1542320" cy="200696"/>
          </a:xfrm>
          <a:prstGeom prst="rect">
            <a:avLst/>
          </a:prstGeom>
        </p:spPr>
        <p:txBody>
          <a:bodyPr vert="horz" wrap="square" lIns="0" tIns="15875" rIns="0" bIns="0" rtlCol="0">
            <a:spAutoFit/>
          </a:bodyPr>
          <a:lstStyle/>
          <a:p>
            <a:pPr marL="12700" marR="0" lvl="0" indent="0" defTabSz="914400" eaLnBrk="1" fontAlgn="auto" latinLnBrk="0" hangingPunct="1">
              <a:lnSpc>
                <a:spcPct val="100000"/>
              </a:lnSpc>
              <a:spcBef>
                <a:spcPts val="125"/>
              </a:spcBef>
              <a:spcAft>
                <a:spcPts val="0"/>
              </a:spcAft>
              <a:buClrTx/>
              <a:buSzTx/>
              <a:buFontTx/>
              <a:buNone/>
              <a:tabLst/>
              <a:defRPr/>
            </a:pPr>
            <a:r>
              <a:rPr kumimoji="0" lang="en-US" altLang="ja-JP" sz="1200" b="1" i="0" u="none" strike="noStrike" kern="0" cap="none" spc="-12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Scope1/2</a:t>
            </a:r>
            <a:r>
              <a:rPr kumimoji="0" lang="ja-JP" altLang="en-US" sz="1200" b="1" i="0" u="none" strike="noStrike" kern="0" cap="none" spc="-12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 排出量（註</a:t>
            </a:r>
            <a:r>
              <a:rPr kumimoji="0" lang="en-US" altLang="ja-JP" sz="1200" b="1" i="0" u="none" strike="noStrike" kern="0" cap="none" spc="-12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1</a:t>
            </a:r>
            <a:r>
              <a:rPr kumimoji="0" lang="ja-JP" altLang="en-US" sz="1200" b="1" i="0" u="none" strike="noStrike" kern="0" cap="none" spc="-12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a:t>
            </a:r>
            <a:endParaRPr kumimoji="0" lang="ja-JP" altLang="en-US" sz="1200" b="1" i="0" u="none" strike="noStrike" kern="0" cap="none" spc="0" normalizeH="0" baseline="0" noProof="0">
              <a:ln>
                <a:noFill/>
              </a:ln>
              <a:solidFill>
                <a:sysClr val="windowText" lastClr="000000"/>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p:txBody>
      </p:sp>
      <p:sp>
        <p:nvSpPr>
          <p:cNvPr id="37" name="object 14">
            <a:extLst>
              <a:ext uri="{FF2B5EF4-FFF2-40B4-BE49-F238E27FC236}">
                <a16:creationId xmlns:a16="http://schemas.microsoft.com/office/drawing/2014/main" id="{339DA53B-C7DE-4A9F-99A4-223D8B5E75BB}"/>
              </a:ext>
            </a:extLst>
          </p:cNvPr>
          <p:cNvSpPr txBox="1"/>
          <p:nvPr/>
        </p:nvSpPr>
        <p:spPr>
          <a:xfrm>
            <a:off x="6539498" y="4754436"/>
            <a:ext cx="956384" cy="456535"/>
          </a:xfrm>
          <a:prstGeom prst="rect">
            <a:avLst/>
          </a:prstGeom>
        </p:spPr>
        <p:txBody>
          <a:bodyPr vert="horz" wrap="square" lIns="0" tIns="86360" rIns="0" bIns="0" rtlCol="0">
            <a:spAutoFit/>
          </a:bodyPr>
          <a:lstStyle/>
          <a:p>
            <a:pPr marL="1270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ネット排出量（註</a:t>
            </a:r>
            <a:r>
              <a:rPr kumimoji="0" lang="en-US" altLang="ja-JP" sz="1200" b="1" i="0" u="none" strike="noStrike" kern="0" cap="none" spc="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2</a:t>
            </a:r>
            <a:r>
              <a:rPr kumimoji="0" lang="ja-JP" altLang="en-US" sz="1200" b="1" i="0" u="none" strike="noStrike" kern="0" cap="none" spc="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rPr>
              <a:t>）</a:t>
            </a:r>
            <a:endParaRPr kumimoji="0" lang="en-US" sz="1200" b="1" i="0" u="none" strike="noStrike" kern="0" cap="none" spc="0" normalizeH="0" baseline="0" noProof="0">
              <a:ln>
                <a:noFill/>
              </a:ln>
              <a:solidFill>
                <a:srgbClr val="FFFFFF"/>
              </a:solidFill>
              <a:effectLst>
                <a:outerShdw blurRad="50800" dist="38100" dir="2700000" algn="tl" rotWithShape="0">
                  <a:prstClr val="black">
                    <a:alpha val="40000"/>
                  </a:prstClr>
                </a:outerShdw>
              </a:effectLst>
              <a:uLnTx/>
              <a:uFillTx/>
              <a:latin typeface="游ゴシック" panose="020B0400000000000000" pitchFamily="50" charset="-128"/>
              <a:ea typeface="游ゴシック" panose="020B0400000000000000" pitchFamily="50" charset="-128"/>
              <a:cs typeface="YuGo-Medium"/>
            </a:endParaRPr>
          </a:p>
        </p:txBody>
      </p:sp>
      <p:sp>
        <p:nvSpPr>
          <p:cNvPr id="2" name="タイトル 1">
            <a:extLst>
              <a:ext uri="{FF2B5EF4-FFF2-40B4-BE49-F238E27FC236}">
                <a16:creationId xmlns:a16="http://schemas.microsoft.com/office/drawing/2014/main" id="{11A1813B-159C-4D29-8A99-227D00AFDEA8}"/>
              </a:ext>
            </a:extLst>
          </p:cNvPr>
          <p:cNvSpPr>
            <a:spLocks noGrp="1"/>
          </p:cNvSpPr>
          <p:nvPr>
            <p:ph type="title"/>
          </p:nvPr>
        </p:nvSpPr>
        <p:spPr>
          <a:xfrm>
            <a:off x="978658" y="218091"/>
            <a:ext cx="10235442" cy="323165"/>
          </a:xfrm>
        </p:spPr>
        <p:txBody>
          <a:bodyPr vert="horz"/>
          <a:lstStyle/>
          <a:p>
            <a:r>
              <a:rPr kumimoji="1" lang="ja-JP" altLang="en-US"/>
              <a:t>ネットゼロ・エミッションへの</a:t>
            </a:r>
            <a:r>
              <a:rPr kumimoji="1" lang="en-US" altLang="ja-JP"/>
              <a:t>Pathway</a:t>
            </a:r>
            <a:r>
              <a:rPr kumimoji="1" lang="ja-JP" altLang="en-US"/>
              <a:t>の具体化</a:t>
            </a:r>
          </a:p>
        </p:txBody>
      </p:sp>
      <p:sp>
        <p:nvSpPr>
          <p:cNvPr id="3" name="テキスト プレースホルダー 2">
            <a:extLst>
              <a:ext uri="{FF2B5EF4-FFF2-40B4-BE49-F238E27FC236}">
                <a16:creationId xmlns:a16="http://schemas.microsoft.com/office/drawing/2014/main" id="{1873956F-BA66-4856-B872-488A6414E42E}"/>
              </a:ext>
            </a:extLst>
          </p:cNvPr>
          <p:cNvSpPr>
            <a:spLocks noGrp="1"/>
          </p:cNvSpPr>
          <p:nvPr>
            <p:ph type="body" sz="quarter" idx="11"/>
          </p:nvPr>
        </p:nvSpPr>
        <p:spPr>
          <a:xfrm>
            <a:off x="864001" y="1070400"/>
            <a:ext cx="10407140" cy="516828"/>
          </a:xfrm>
        </p:spPr>
        <p:txBody>
          <a:bodyPr/>
          <a:lstStyle/>
          <a:p>
            <a:pPr>
              <a:lnSpc>
                <a:spcPct val="100000"/>
              </a:lnSpc>
            </a:pPr>
            <a:r>
              <a:rPr kumimoji="1" lang="ja-JP" altLang="en-US"/>
              <a:t>「ネットゼロ・エミッションへの</a:t>
            </a:r>
            <a:r>
              <a:rPr kumimoji="1" lang="en-US" altLang="ja-JP"/>
              <a:t>Pathway</a:t>
            </a:r>
            <a:r>
              <a:rPr kumimoji="1" lang="ja-JP" altLang="en-US"/>
              <a:t>」は、</a:t>
            </a:r>
            <a:r>
              <a:rPr kumimoji="1" lang="en-US" altLang="ja-JP"/>
              <a:t>2050</a:t>
            </a:r>
            <a:r>
              <a:rPr kumimoji="1" lang="ja-JP" altLang="en-US"/>
              <a:t>年ネットゼロに向けた削減経路を具体的に示すものです。従来のものから解像度を向上させ、各取組の貢献度を定量的に示すことで、移行計画をより明確に提示します。</a:t>
            </a:r>
          </a:p>
        </p:txBody>
      </p:sp>
      <p:sp>
        <p:nvSpPr>
          <p:cNvPr id="4" name="スライド番号プレースホルダー 3">
            <a:extLst>
              <a:ext uri="{FF2B5EF4-FFF2-40B4-BE49-F238E27FC236}">
                <a16:creationId xmlns:a16="http://schemas.microsoft.com/office/drawing/2014/main" id="{95D37F58-A9F2-409F-AA0C-AD6E0BE7E109}"/>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8</a:t>
            </a:fld>
            <a:endParaRPr kumimoji="1" lang="ja-JP" altLang="en-US" sz="1000" b="0" i="0" u="none" strike="noStrike" kern="0" cap="none" spc="0" normalizeH="0" baseline="0" noProof="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sp>
        <p:nvSpPr>
          <p:cNvPr id="6" name="テキスト プレースホルダー 5">
            <a:extLst>
              <a:ext uri="{FF2B5EF4-FFF2-40B4-BE49-F238E27FC236}">
                <a16:creationId xmlns:a16="http://schemas.microsoft.com/office/drawing/2014/main" id="{1520B664-5FE5-4D33-8A50-4BA1D50EDEA9}"/>
              </a:ext>
            </a:extLst>
          </p:cNvPr>
          <p:cNvSpPr>
            <a:spLocks noGrp="1"/>
          </p:cNvSpPr>
          <p:nvPr>
            <p:ph type="body" sz="quarter" idx="14"/>
          </p:nvPr>
        </p:nvSpPr>
        <p:spPr>
          <a:xfrm>
            <a:off x="977900" y="533349"/>
            <a:ext cx="10235442" cy="296876"/>
          </a:xfrm>
        </p:spPr>
        <p:txBody>
          <a:bodyPr/>
          <a:lstStyle/>
          <a:p>
            <a:r>
              <a:rPr kumimoji="1" lang="ja-JP" altLang="en-US"/>
              <a:t>～</a:t>
            </a:r>
            <a:r>
              <a:rPr kumimoji="1" lang="en-US" altLang="ja-JP"/>
              <a:t>1.5℃</a:t>
            </a:r>
            <a:r>
              <a:rPr kumimoji="1" lang="ja-JP" altLang="en-US"/>
              <a:t>削減経路に沿った、商船三井グループの脱炭素戦略～</a:t>
            </a:r>
          </a:p>
        </p:txBody>
      </p:sp>
      <p:pic>
        <p:nvPicPr>
          <p:cNvPr id="9" name="object 4">
            <a:extLst>
              <a:ext uri="{FF2B5EF4-FFF2-40B4-BE49-F238E27FC236}">
                <a16:creationId xmlns:a16="http://schemas.microsoft.com/office/drawing/2014/main" id="{8278461A-F1B1-4745-BD9E-8B30F932825E}"/>
              </a:ext>
            </a:extLst>
          </p:cNvPr>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4700"/>
                    </a14:imgEffect>
                    <a14:imgEffect>
                      <a14:saturation sat="33000"/>
                    </a14:imgEffect>
                  </a14:imgLayer>
                </a14:imgProps>
              </a:ext>
            </a:extLst>
          </a:blip>
          <a:stretch>
            <a:fillRect/>
          </a:stretch>
        </p:blipFill>
        <p:spPr>
          <a:xfrm>
            <a:off x="992384" y="3318239"/>
            <a:ext cx="1918634" cy="1652160"/>
          </a:xfrm>
          <a:prstGeom prst="rect">
            <a:avLst/>
          </a:prstGeom>
        </p:spPr>
      </p:pic>
      <p:pic>
        <p:nvPicPr>
          <p:cNvPr id="10" name="object 5">
            <a:extLst>
              <a:ext uri="{FF2B5EF4-FFF2-40B4-BE49-F238E27FC236}">
                <a16:creationId xmlns:a16="http://schemas.microsoft.com/office/drawing/2014/main" id="{F6B48DFE-ED37-46BD-BD40-8DAA1447AB84}"/>
              </a:ext>
            </a:extLst>
          </p:cNvPr>
          <p:cNvPicPr/>
          <p:nvPr/>
        </p:nvPicPr>
        <p:blipFill>
          <a:blip r:embed="rId9" cstate="print">
            <a:extLst>
              <a:ext uri="{28A0092B-C50C-407E-A947-70E740481C1C}">
                <a14:useLocalDpi xmlns:a14="http://schemas.microsoft.com/office/drawing/2010/main"/>
              </a:ext>
            </a:extLst>
          </a:blip>
          <a:stretch>
            <a:fillRect/>
          </a:stretch>
        </p:blipFill>
        <p:spPr>
          <a:xfrm>
            <a:off x="3416383" y="3845721"/>
            <a:ext cx="338325" cy="853427"/>
          </a:xfrm>
          <a:prstGeom prst="rect">
            <a:avLst/>
          </a:prstGeom>
        </p:spPr>
      </p:pic>
      <p:sp>
        <p:nvSpPr>
          <p:cNvPr id="11" name="object 8">
            <a:extLst>
              <a:ext uri="{FF2B5EF4-FFF2-40B4-BE49-F238E27FC236}">
                <a16:creationId xmlns:a16="http://schemas.microsoft.com/office/drawing/2014/main" id="{F8FE2A63-675F-47CD-95EA-8B56D01A0347}"/>
              </a:ext>
            </a:extLst>
          </p:cNvPr>
          <p:cNvSpPr txBox="1"/>
          <p:nvPr/>
        </p:nvSpPr>
        <p:spPr>
          <a:xfrm>
            <a:off x="901915" y="5181497"/>
            <a:ext cx="2537385" cy="394980"/>
          </a:xfrm>
          <a:prstGeom prst="rect">
            <a:avLst/>
          </a:prstGeom>
        </p:spPr>
        <p:txBody>
          <a:bodyPr vert="horz" wrap="square" lIns="0" tIns="12700" rIns="0" bIns="0" rtlCol="0">
            <a:spAutoFit/>
          </a:bodyPr>
          <a:lstStyle/>
          <a:p>
            <a:pPr marL="12700" marR="0" lvl="0" indent="0" algn="l"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80" normalizeH="0" baseline="0" noProof="0" err="1">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商船三井グループ</a:t>
            </a:r>
            <a:r>
              <a:rPr kumimoji="0" sz="1200" b="0" i="0" u="none" strike="noStrike" kern="0" cap="none" spc="-8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 環境ビジョン</a:t>
            </a:r>
            <a:r>
              <a:rPr kumimoji="0" sz="1200" b="0" i="0" u="none" strike="noStrike" kern="0" cap="none" spc="-3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2.1</a:t>
            </a:r>
            <a:endParaRPr kumimoji="0" lang="en-US" sz="1200" b="0" i="0" u="none" strike="noStrike" kern="0" cap="none" spc="-3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endParaRPr>
          </a:p>
          <a:p>
            <a:pPr marL="12700" marR="0" lvl="0" indent="0" algn="l" defTabSz="914400" eaLnBrk="1" fontAlgn="auto" latinLnBrk="0" hangingPunct="1">
              <a:lnSpc>
                <a:spcPct val="100000"/>
              </a:lnSpc>
              <a:spcBef>
                <a:spcPts val="100"/>
              </a:spcBef>
              <a:spcAft>
                <a:spcPts val="0"/>
              </a:spcAft>
              <a:buClrTx/>
              <a:buSzTx/>
              <a:buFontTx/>
              <a:buNone/>
              <a:tabLst/>
              <a:defRPr/>
            </a:pPr>
            <a:r>
              <a:rPr kumimoji="0" lang="ja-JP" altLang="en-US" sz="1200" b="0" i="0" u="none" strike="noStrike" kern="0" cap="none" spc="-3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a:t>
            </a:r>
            <a:r>
              <a:rPr kumimoji="0" sz="1200" b="0" i="0" u="none" strike="noStrike" kern="0" cap="none" spc="-3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202</a:t>
            </a:r>
            <a:r>
              <a:rPr kumimoji="0" lang="en-US" sz="1200" b="0" i="0" u="none" strike="noStrike" kern="0" cap="none" spc="-3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1</a:t>
            </a:r>
            <a:r>
              <a:rPr kumimoji="0" sz="1200" b="0" i="0" u="none" strike="noStrike" kern="0" cap="none" spc="-1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年</a:t>
            </a:r>
            <a:r>
              <a:rPr kumimoji="0" sz="1200" b="0" i="0" u="none" strike="noStrike" kern="0" cap="none" spc="-10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6</a:t>
            </a:r>
            <a:r>
              <a:rPr kumimoji="0" sz="1200" b="0" i="0" u="none" strike="noStrike" kern="0" cap="none" spc="-5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月公表</a:t>
            </a:r>
            <a:r>
              <a:rPr kumimoji="0" lang="ja-JP" altLang="en-US" sz="1200" b="0" i="0" u="none" strike="noStrike" kern="0" cap="none" spc="-5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時点</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12" name="object 9">
            <a:extLst>
              <a:ext uri="{FF2B5EF4-FFF2-40B4-BE49-F238E27FC236}">
                <a16:creationId xmlns:a16="http://schemas.microsoft.com/office/drawing/2014/main" id="{B1EC3D61-78C5-431A-AD61-2607E03A64C9}"/>
              </a:ext>
            </a:extLst>
          </p:cNvPr>
          <p:cNvSpPr txBox="1"/>
          <p:nvPr/>
        </p:nvSpPr>
        <p:spPr>
          <a:xfrm>
            <a:off x="640365" y="5990113"/>
            <a:ext cx="9748775" cy="348172"/>
          </a:xfrm>
          <a:prstGeom prst="rect">
            <a:avLst/>
          </a:prstGeom>
        </p:spPr>
        <p:txBody>
          <a:bodyPr vert="horz" wrap="square" lIns="0" tIns="27305" rIns="0" bIns="0" rtlCol="0" anchor="t">
            <a:spAutoFit/>
          </a:bodyPr>
          <a:lstStyle/>
          <a:p>
            <a:pPr marL="0" marR="5080" lvl="0" indent="0" algn="l" defTabSz="914400" eaLnBrk="1" fontAlgn="auto" latinLnBrk="0" hangingPunct="1">
              <a:lnSpc>
                <a:spcPct val="100000"/>
              </a:lnSpc>
              <a:spcBef>
                <a:spcPts val="114"/>
              </a:spcBef>
              <a:spcAft>
                <a:spcPts val="0"/>
              </a:spcAft>
              <a:buClrTx/>
              <a:buSzTx/>
              <a:buFontTx/>
              <a:buNone/>
              <a:tabLst/>
              <a:defRPr/>
            </a:pPr>
            <a:r>
              <a:rPr kumimoji="0" lang="ja-JP" altLang="en-US" sz="1000" b="0" i="0" u="none" strike="noStrike" kern="0" cap="none" spc="0" normalizeH="0" baseline="0" noProof="0">
                <a:ln>
                  <a:noFill/>
                </a:ln>
                <a:solidFill>
                  <a:srgbClr val="59595D"/>
                </a:solidFill>
                <a:effectLst/>
                <a:uLnTx/>
                <a:uFillTx/>
                <a:latin typeface="游ゴシック Medium"/>
                <a:ea typeface="游ゴシック Medium"/>
                <a:cs typeface="YuGo-Medium"/>
              </a:rPr>
              <a:t>（註</a:t>
            </a:r>
            <a:r>
              <a:rPr kumimoji="0" lang="en-US" altLang="ja-JP" sz="1000" b="0" i="0" u="none" strike="noStrike" kern="0" cap="none" spc="0" normalizeH="0" baseline="0" noProof="0">
                <a:ln>
                  <a:noFill/>
                </a:ln>
                <a:solidFill>
                  <a:srgbClr val="59595D"/>
                </a:solidFill>
                <a:effectLst/>
                <a:uLnTx/>
                <a:uFillTx/>
                <a:latin typeface="游ゴシック Medium"/>
                <a:ea typeface="游ゴシック Medium"/>
                <a:cs typeface="YuGo-Medium"/>
              </a:rPr>
              <a:t>1</a:t>
            </a:r>
            <a:r>
              <a:rPr kumimoji="0" lang="ja-JP" altLang="en-US" sz="1000" b="0" i="0" u="none" strike="noStrike" kern="0" cap="none" spc="-500" normalizeH="0" baseline="0" noProof="0">
                <a:ln>
                  <a:noFill/>
                </a:ln>
                <a:solidFill>
                  <a:srgbClr val="59595D"/>
                </a:solidFill>
                <a:effectLst/>
                <a:uLnTx/>
                <a:uFillTx/>
                <a:latin typeface="游ゴシック Medium"/>
                <a:ea typeface="游ゴシック Medium"/>
                <a:cs typeface="YuGo-Medium"/>
              </a:rPr>
              <a:t>）  　</a:t>
            </a:r>
            <a:r>
              <a:rPr kumimoji="0" lang="ja-JP" altLang="en-US" sz="1000" b="0" i="0" u="none" strike="noStrike" kern="0" cap="none" spc="-100" normalizeH="0" baseline="0" noProof="0">
                <a:ln>
                  <a:noFill/>
                </a:ln>
                <a:solidFill>
                  <a:srgbClr val="59595D"/>
                </a:solidFill>
                <a:effectLst/>
                <a:uLnTx/>
                <a:uFillTx/>
                <a:latin typeface="游ゴシック Medium"/>
                <a:ea typeface="游ゴシック Medium"/>
                <a:cs typeface="YuGo-Medium"/>
              </a:rPr>
              <a:t>対象範囲：商船三井と全ての連結子会社。</a:t>
            </a:r>
            <a:r>
              <a:rPr kumimoji="0" lang="en-US" altLang="ja-JP" sz="1000" b="0" i="0" u="none" strike="noStrike" kern="0" cap="none" spc="0" normalizeH="0" baseline="0" noProof="0">
                <a:ln>
                  <a:noFill/>
                </a:ln>
                <a:solidFill>
                  <a:srgbClr val="59595D"/>
                </a:solidFill>
                <a:effectLst/>
                <a:uLnTx/>
                <a:uFillTx/>
                <a:latin typeface="游ゴシック Medium"/>
                <a:ea typeface="游ゴシック Medium"/>
                <a:cs typeface="YuGo-Medium"/>
              </a:rPr>
              <a:t>2050</a:t>
            </a:r>
            <a:r>
              <a:rPr kumimoji="0" lang="ja-JP" altLang="en-US" sz="1000" b="0" i="0" u="none" strike="noStrike" kern="0" cap="none" spc="-90" normalizeH="0" baseline="0" noProof="0">
                <a:ln>
                  <a:noFill/>
                </a:ln>
                <a:solidFill>
                  <a:srgbClr val="59595D"/>
                </a:solidFill>
                <a:effectLst/>
                <a:uLnTx/>
                <a:uFillTx/>
                <a:latin typeface="游ゴシック Medium"/>
                <a:ea typeface="游ゴシック Medium"/>
                <a:cs typeface="YuGo-Medium"/>
              </a:rPr>
              <a:t>年のネットゼロ目標には</a:t>
            </a:r>
            <a:r>
              <a:rPr kumimoji="0" lang="en-US" altLang="ja-JP" sz="1000" b="0" i="0" u="none" strike="noStrike" kern="0" cap="none" spc="-10" normalizeH="0" baseline="0" noProof="0">
                <a:ln>
                  <a:noFill/>
                </a:ln>
                <a:solidFill>
                  <a:srgbClr val="59595D"/>
                </a:solidFill>
                <a:effectLst/>
                <a:uLnTx/>
                <a:uFillTx/>
                <a:latin typeface="游ゴシック Medium"/>
                <a:ea typeface="游ゴシック Medium"/>
                <a:cs typeface="YuGo-Medium"/>
              </a:rPr>
              <a:t>Scope3</a:t>
            </a:r>
            <a:r>
              <a:rPr kumimoji="0" lang="ja-JP" altLang="en-US" sz="1000" b="0" i="0" u="none" strike="noStrike" kern="0" cap="none" spc="-75" normalizeH="0" baseline="0" noProof="0">
                <a:ln>
                  <a:noFill/>
                </a:ln>
                <a:solidFill>
                  <a:srgbClr val="59595D"/>
                </a:solidFill>
                <a:effectLst/>
                <a:uLnTx/>
                <a:uFillTx/>
                <a:latin typeface="游ゴシック Medium"/>
                <a:ea typeface="游ゴシック Medium"/>
                <a:cs typeface="YuGo-Medium"/>
              </a:rPr>
              <a:t>も含みます。</a:t>
            </a:r>
          </a:p>
          <a:p>
            <a:pPr marL="0" marR="5080" lvl="0" indent="0" algn="l" defTabSz="914400" eaLnBrk="1" fontAlgn="auto" latinLnBrk="0" hangingPunct="1">
              <a:lnSpc>
                <a:spcPct val="100000"/>
              </a:lnSpc>
              <a:spcBef>
                <a:spcPts val="114"/>
              </a:spcBef>
              <a:spcAft>
                <a:spcPts val="0"/>
              </a:spcAft>
              <a:buClrTx/>
              <a:buSzTx/>
              <a:buFontTx/>
              <a:buNone/>
              <a:tabLst/>
              <a:defRPr/>
            </a:pPr>
            <a:r>
              <a:rPr kumimoji="1" lang="ja-JP" altLang="en-US" sz="1000" b="0" i="0" u="none" strike="noStrike" kern="0" cap="none" spc="0" normalizeH="0" baseline="0" noProof="0">
                <a:ln>
                  <a:noFill/>
                </a:ln>
                <a:solidFill>
                  <a:srgbClr val="59595D"/>
                </a:solidFill>
                <a:effectLst/>
                <a:uLnTx/>
                <a:uFillTx/>
                <a:latin typeface="游ゴシック Medium"/>
                <a:ea typeface="游ゴシック Medium"/>
              </a:rPr>
              <a:t>（註</a:t>
            </a:r>
            <a:r>
              <a:rPr kumimoji="1" lang="en-US" altLang="ja-JP" sz="1000" b="0" i="0" u="none" strike="noStrike" kern="0" cap="none" spc="0" normalizeH="0" baseline="0" noProof="0">
                <a:ln>
                  <a:noFill/>
                </a:ln>
                <a:solidFill>
                  <a:srgbClr val="59595D"/>
                </a:solidFill>
                <a:effectLst/>
                <a:uLnTx/>
                <a:uFillTx/>
                <a:latin typeface="游ゴシック Medium"/>
                <a:ea typeface="游ゴシック Medium"/>
              </a:rPr>
              <a:t>2</a:t>
            </a:r>
            <a:r>
              <a:rPr kumimoji="1" lang="ja-JP" altLang="en-US" sz="1000" b="0" i="0" u="none" strike="noStrike" kern="0" cap="none" spc="0" normalizeH="0" baseline="0" noProof="0">
                <a:ln>
                  <a:noFill/>
                </a:ln>
                <a:solidFill>
                  <a:srgbClr val="59595D"/>
                </a:solidFill>
                <a:effectLst/>
                <a:uLnTx/>
                <a:uFillTx/>
                <a:latin typeface="游ゴシック Medium"/>
                <a:ea typeface="游ゴシック Medium"/>
              </a:rPr>
              <a:t>）</a:t>
            </a:r>
            <a:r>
              <a:rPr kumimoji="1" lang="en-US" altLang="ja-JP" sz="1000" b="0" i="0" u="none" strike="noStrike" kern="0" cap="none" spc="0" normalizeH="0" baseline="0" noProof="0">
                <a:ln>
                  <a:noFill/>
                </a:ln>
                <a:solidFill>
                  <a:srgbClr val="59595D"/>
                </a:solidFill>
                <a:effectLst/>
                <a:uLnTx/>
                <a:uFillTx/>
                <a:latin typeface="游ゴシック Medium"/>
                <a:ea typeface="游ゴシック Medium"/>
              </a:rPr>
              <a:t>2050</a:t>
            </a:r>
            <a:r>
              <a:rPr kumimoji="1" lang="ja-JP" altLang="en-US" sz="1000" b="0" i="0" u="none" strike="noStrike" kern="0" cap="none" spc="0" normalizeH="0" baseline="0" noProof="0">
                <a:ln>
                  <a:noFill/>
                </a:ln>
                <a:solidFill>
                  <a:srgbClr val="59595D"/>
                </a:solidFill>
                <a:effectLst/>
                <a:uLnTx/>
                <a:uFillTx/>
                <a:latin typeface="游ゴシック Medium"/>
                <a:ea typeface="游ゴシック Medium"/>
              </a:rPr>
              <a:t>年までの途中年における排出量算出においては、ネガティブ・エミッションによるオフセットは行いません。詳細は</a:t>
            </a:r>
            <a:r>
              <a:rPr kumimoji="1" lang="en-US" altLang="ja-JP" sz="1000" b="0" i="0" u="none" strike="noStrike" kern="0" cap="none" spc="0" normalizeH="0" baseline="0" noProof="0">
                <a:ln>
                  <a:noFill/>
                </a:ln>
                <a:solidFill>
                  <a:srgbClr val="59595D"/>
                </a:solidFill>
                <a:effectLst/>
                <a:uLnTx/>
                <a:uFillTx/>
                <a:latin typeface="游ゴシック Medium"/>
                <a:ea typeface="游ゴシック Medium"/>
              </a:rPr>
              <a:t>Appendix(</a:t>
            </a:r>
            <a:r>
              <a:rPr kumimoji="1" lang="ja-JP" altLang="en-US" sz="1000" b="0" i="0" u="none" strike="noStrike" kern="0" cap="none" spc="0" normalizeH="0" baseline="0" noProof="0">
                <a:ln>
                  <a:noFill/>
                </a:ln>
                <a:solidFill>
                  <a:srgbClr val="59595D"/>
                </a:solidFill>
                <a:effectLst/>
                <a:uLnTx/>
                <a:uFillTx/>
                <a:latin typeface="游ゴシック Medium"/>
                <a:ea typeface="游ゴシック Medium"/>
              </a:rPr>
              <a:t>⇒</a:t>
            </a:r>
            <a:r>
              <a:rPr kumimoji="1" lang="en-US" altLang="ja-JP" sz="1000" b="0" i="0" u="none" strike="noStrike" kern="0" cap="none" spc="0" normalizeH="0" baseline="0" noProof="0">
                <a:ln>
                  <a:noFill/>
                </a:ln>
                <a:solidFill>
                  <a:srgbClr val="59595D"/>
                </a:solidFill>
                <a:effectLst/>
                <a:uLnTx/>
                <a:uFillTx/>
                <a:latin typeface="游ゴシック Medium"/>
                <a:ea typeface="游ゴシック Medium"/>
              </a:rPr>
              <a:t>P.45)</a:t>
            </a:r>
            <a:r>
              <a:rPr kumimoji="1" lang="ja-JP" altLang="en-US" sz="1000" b="0" i="0" u="none" strike="noStrike" kern="0" cap="none" spc="0" normalizeH="0" baseline="0" noProof="0">
                <a:ln>
                  <a:noFill/>
                </a:ln>
                <a:solidFill>
                  <a:srgbClr val="59595D"/>
                </a:solidFill>
                <a:effectLst/>
                <a:uLnTx/>
                <a:uFillTx/>
                <a:latin typeface="游ゴシック Medium"/>
                <a:ea typeface="游ゴシック Medium"/>
              </a:rPr>
              <a:t>をご参照ください。</a:t>
            </a:r>
            <a:endParaRPr kumimoji="0" lang="ja-JP" altLang="en-US" sz="1000" b="0" i="0" u="none" strike="noStrike" kern="0" cap="none" spc="0" normalizeH="0" baseline="0" noProof="0">
              <a:ln>
                <a:noFill/>
              </a:ln>
              <a:solidFill>
                <a:srgbClr val="59595D"/>
              </a:solidFill>
              <a:effectLst/>
              <a:uLnTx/>
              <a:uFillTx/>
              <a:latin typeface="游ゴシック Medium"/>
              <a:ea typeface="游ゴシック Medium"/>
            </a:endParaRPr>
          </a:p>
        </p:txBody>
      </p:sp>
      <p:sp>
        <p:nvSpPr>
          <p:cNvPr id="13" name="object 10">
            <a:extLst>
              <a:ext uri="{FF2B5EF4-FFF2-40B4-BE49-F238E27FC236}">
                <a16:creationId xmlns:a16="http://schemas.microsoft.com/office/drawing/2014/main" id="{9353D223-1CD1-475E-B6C2-126E0FC1B02E}"/>
              </a:ext>
            </a:extLst>
          </p:cNvPr>
          <p:cNvSpPr txBox="1"/>
          <p:nvPr/>
        </p:nvSpPr>
        <p:spPr>
          <a:xfrm>
            <a:off x="3126124" y="3475167"/>
            <a:ext cx="918844" cy="19749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ja-JP" altLang="en-US" sz="1200" b="0" i="0" u="none" strike="noStrike" kern="0" cap="none" spc="-50" normalizeH="0" baseline="0" noProof="0">
                <a:ln>
                  <a:noFill/>
                </a:ln>
                <a:solidFill>
                  <a:srgbClr val="00A69A"/>
                </a:solidFill>
                <a:effectLst/>
                <a:uLnTx/>
                <a:uFillTx/>
                <a:latin typeface="游ゴシック Medium" panose="020B0500000000000000" pitchFamily="50" charset="-128"/>
                <a:ea typeface="游ゴシック Medium" panose="020B0500000000000000" pitchFamily="50" charset="-128"/>
                <a:cs typeface="YuGo-Medium"/>
              </a:rPr>
              <a:t>解像度を向上</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14" name="テキスト ボックス 13">
            <a:extLst>
              <a:ext uri="{FF2B5EF4-FFF2-40B4-BE49-F238E27FC236}">
                <a16:creationId xmlns:a16="http://schemas.microsoft.com/office/drawing/2014/main" id="{9BED5289-805A-4490-8087-35568A832AF8}"/>
              </a:ext>
            </a:extLst>
          </p:cNvPr>
          <p:cNvSpPr txBox="1"/>
          <p:nvPr/>
        </p:nvSpPr>
        <p:spPr>
          <a:xfrm>
            <a:off x="703660" y="1760292"/>
            <a:ext cx="6102096" cy="338554"/>
          </a:xfrm>
          <a:prstGeom prst="rect">
            <a:avLst/>
          </a:prstGeom>
          <a:noFill/>
        </p:spPr>
        <p:txBody>
          <a:bodyPr wrap="square">
            <a:spAutoFit/>
          </a:bodyPr>
          <a:lstStyle/>
          <a:p>
            <a:pPr marL="122555" marR="0" lvl="0" indent="0" defTabSz="914400" eaLnBrk="1" fontAlgn="auto" latinLnBrk="0" hangingPunct="1">
              <a:lnSpc>
                <a:spcPct val="100000"/>
              </a:lnSpc>
              <a:spcBef>
                <a:spcPts val="1785"/>
              </a:spcBef>
              <a:spcAft>
                <a:spcPts val="0"/>
              </a:spcAft>
              <a:buClrTx/>
              <a:buSzTx/>
              <a:buFontTx/>
              <a:buNone/>
              <a:tabLst/>
              <a:defRPr/>
            </a:pPr>
            <a:r>
              <a:rPr kumimoji="0" lang="ja-JP" altLang="en-US" sz="1600" b="1" i="0" u="none" strike="noStrike" kern="0" cap="none" spc="0" normalizeH="0" baseline="0" noProof="0">
                <a:ln>
                  <a:noFill/>
                </a:ln>
                <a:solidFill>
                  <a:srgbClr val="00A69A"/>
                </a:solidFill>
                <a:effectLst/>
                <a:uLnTx/>
                <a:uFillTx/>
                <a:latin typeface="游ゴシック Medium" panose="020B0500000000000000" pitchFamily="50" charset="-128"/>
                <a:ea typeface="游ゴシック Medium" panose="020B0500000000000000" pitchFamily="50" charset="-128"/>
                <a:cs typeface="YuGothic"/>
              </a:rPr>
              <a:t>商船三井グループ ネットゼロ・エミッションへの</a:t>
            </a:r>
            <a:r>
              <a:rPr kumimoji="0" lang="en-US" altLang="ja-JP" sz="1600" b="1" i="0" u="none" strike="noStrike" kern="0" cap="none" spc="0" normalizeH="0" baseline="0" noProof="0">
                <a:ln>
                  <a:noFill/>
                </a:ln>
                <a:solidFill>
                  <a:srgbClr val="00A69A"/>
                </a:solidFill>
                <a:effectLst/>
                <a:uLnTx/>
                <a:uFillTx/>
                <a:latin typeface="游ゴシック Medium" panose="020B0500000000000000" pitchFamily="50" charset="-128"/>
                <a:ea typeface="游ゴシック Medium" panose="020B0500000000000000" pitchFamily="50" charset="-128"/>
                <a:cs typeface="YuGothic"/>
              </a:rPr>
              <a:t>Pathway</a:t>
            </a:r>
            <a:endParaRPr kumimoji="0" lang="en-US" altLang="ja-JP" sz="16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thic"/>
            </a:endParaRPr>
          </a:p>
        </p:txBody>
      </p:sp>
      <p:sp>
        <p:nvSpPr>
          <p:cNvPr id="16" name="object 7">
            <a:extLst>
              <a:ext uri="{FF2B5EF4-FFF2-40B4-BE49-F238E27FC236}">
                <a16:creationId xmlns:a16="http://schemas.microsoft.com/office/drawing/2014/main" id="{42E8B32D-8CB8-492F-A38D-ED2199641726}"/>
              </a:ext>
            </a:extLst>
          </p:cNvPr>
          <p:cNvSpPr txBox="1"/>
          <p:nvPr/>
        </p:nvSpPr>
        <p:spPr>
          <a:xfrm>
            <a:off x="6955972" y="5685110"/>
            <a:ext cx="1669002" cy="190437"/>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lang="ja-JP" altLang="en-US" sz="1150" b="1" i="0" u="none" strike="noStrike" kern="0" cap="none" spc="-190" normalizeH="0" baseline="0" noProof="0">
                <a:ln>
                  <a:noFill/>
                </a:ln>
                <a:solidFill>
                  <a:srgbClr val="ED86B4"/>
                </a:solidFill>
                <a:effectLst>
                  <a:outerShdw blurRad="50800" dist="38100" dir="2700000" algn="tl" rotWithShape="0">
                    <a:prstClr val="black">
                      <a:alpha val="40000"/>
                    </a:prstClr>
                  </a:outerShdw>
                </a:effectLst>
                <a:uLnTx/>
                <a:uFillTx/>
                <a:latin typeface="游ゴシック Medium"/>
                <a:ea typeface="游ゴシック Medium"/>
                <a:cs typeface="YuGo-Medium"/>
              </a:rPr>
              <a:t>ネガティブ・エミッション</a:t>
            </a:r>
            <a:endParaRPr kumimoji="0" lang="ja-JP" altLang="en-US" sz="1150" b="1" i="0" u="none" strike="noStrike" kern="0" cap="none" spc="0" normalizeH="0" baseline="0" noProof="0">
              <a:ln>
                <a:noFill/>
              </a:ln>
              <a:solidFill>
                <a:sysClr val="windowText" lastClr="000000"/>
              </a:solidFill>
              <a:effectLst>
                <a:outerShdw blurRad="50800" dist="38100" dir="2700000" algn="tl" rotWithShape="0">
                  <a:prstClr val="black">
                    <a:alpha val="40000"/>
                  </a:prstClr>
                </a:outerShdw>
              </a:effectLst>
              <a:uLnTx/>
              <a:uFillTx/>
              <a:latin typeface="游ゴシック Medium"/>
              <a:ea typeface="游ゴシック Medium"/>
              <a:cs typeface="YuGo-Medium"/>
            </a:endParaRPr>
          </a:p>
        </p:txBody>
      </p:sp>
      <p:sp>
        <p:nvSpPr>
          <p:cNvPr id="20" name="object 11">
            <a:extLst>
              <a:ext uri="{FF2B5EF4-FFF2-40B4-BE49-F238E27FC236}">
                <a16:creationId xmlns:a16="http://schemas.microsoft.com/office/drawing/2014/main" id="{387B78A9-922F-475D-A687-1EC53862E3D8}"/>
              </a:ext>
            </a:extLst>
          </p:cNvPr>
          <p:cNvSpPr txBox="1"/>
          <p:nvPr/>
        </p:nvSpPr>
        <p:spPr>
          <a:xfrm>
            <a:off x="9256230" y="2568912"/>
            <a:ext cx="1628779" cy="458395"/>
          </a:xfrm>
          <a:prstGeom prst="rect">
            <a:avLst/>
          </a:prstGeom>
        </p:spPr>
        <p:txBody>
          <a:bodyPr vert="horz" wrap="square" lIns="0" tIns="12700" rIns="0" bIns="0" rtlCol="0">
            <a:spAutoFit/>
          </a:bodyPr>
          <a:lstStyle/>
          <a:p>
            <a:pPr marL="12700" marR="5080" lvl="0" indent="0" defTabSz="914400" eaLnBrk="1" fontAlgn="auto" latinLnBrk="0" hangingPunct="1">
              <a:lnSpc>
                <a:spcPct val="105300"/>
              </a:lnSpc>
              <a:spcBef>
                <a:spcPts val="100"/>
              </a:spcBef>
              <a:spcAft>
                <a:spcPts val="0"/>
              </a:spcAft>
              <a:buClrTx/>
              <a:buSzTx/>
              <a:buFontTx/>
              <a:buNone/>
              <a:tabLst/>
              <a:defRPr/>
            </a:pPr>
            <a:r>
              <a:rPr kumimoji="0" lang="ja-JP" altLang="en-US" sz="1400" b="1" i="0" u="none" strike="noStrike" kern="0" cap="none" spc="-130" normalizeH="0" baseline="0" noProof="0">
                <a:ln>
                  <a:noFill/>
                </a:ln>
                <a:solidFill>
                  <a:srgbClr val="005295"/>
                </a:solidFill>
                <a:effectLst/>
                <a:uLnTx/>
                <a:uFillTx/>
                <a:latin typeface="游ゴシック Medium"/>
                <a:ea typeface="游ゴシック Medium"/>
                <a:cs typeface="YuGothic"/>
              </a:rPr>
              <a:t>風力推進を中心とした</a:t>
            </a:r>
            <a:r>
              <a:rPr kumimoji="0" lang="ja-JP" altLang="en-US" sz="1400" b="1" i="0" u="none" strike="noStrike" kern="0" cap="none" spc="-70" normalizeH="0" baseline="0" noProof="0">
                <a:ln>
                  <a:noFill/>
                </a:ln>
                <a:solidFill>
                  <a:srgbClr val="005295"/>
                </a:solidFill>
                <a:effectLst/>
                <a:uLnTx/>
                <a:uFillTx/>
                <a:latin typeface="游ゴシック Medium"/>
                <a:ea typeface="游ゴシック Medium"/>
                <a:cs typeface="YuGothic"/>
              </a:rPr>
              <a:t>効率改善 約</a:t>
            </a:r>
            <a:r>
              <a:rPr kumimoji="0" lang="en-US" altLang="ja-JP" sz="1400" b="1" i="0" u="none" strike="noStrike" kern="0" cap="none" spc="-25" normalizeH="0" baseline="0" noProof="0">
                <a:ln>
                  <a:noFill/>
                </a:ln>
                <a:solidFill>
                  <a:srgbClr val="005295"/>
                </a:solidFill>
                <a:effectLst/>
                <a:uLnTx/>
                <a:uFillTx/>
                <a:latin typeface="游ゴシック Medium"/>
                <a:ea typeface="游ゴシック Medium"/>
                <a:cs typeface="YuGothic"/>
              </a:rPr>
              <a:t>20</a:t>
            </a:r>
            <a:r>
              <a:rPr kumimoji="0" lang="ja-JP" altLang="en-US" sz="1400" b="1" i="0" u="none" strike="noStrike" kern="0" cap="none" spc="-25" normalizeH="0" baseline="0" noProof="0">
                <a:ln>
                  <a:noFill/>
                </a:ln>
                <a:solidFill>
                  <a:srgbClr val="005295"/>
                </a:solidFill>
                <a:effectLst/>
                <a:uLnTx/>
                <a:uFillTx/>
                <a:latin typeface="游ゴシック Medium"/>
                <a:ea typeface="游ゴシック Medium"/>
                <a:cs typeface="YuGothic"/>
              </a:rPr>
              <a:t>％</a:t>
            </a:r>
            <a:endParaRPr kumimoji="0" lang="ja-JP" altLang="en-US" sz="1400" b="0" i="0" u="none" strike="noStrike" kern="0" cap="none" spc="0" normalizeH="0" baseline="0" noProof="0">
              <a:ln>
                <a:noFill/>
              </a:ln>
              <a:solidFill>
                <a:sysClr val="windowText" lastClr="000000"/>
              </a:solidFill>
              <a:effectLst/>
              <a:uLnTx/>
              <a:uFillTx/>
              <a:latin typeface="游ゴシック Medium"/>
              <a:ea typeface="游ゴシック Medium"/>
              <a:cs typeface="YuGothic"/>
            </a:endParaRPr>
          </a:p>
        </p:txBody>
      </p:sp>
      <p:sp>
        <p:nvSpPr>
          <p:cNvPr id="21" name="object 13">
            <a:extLst>
              <a:ext uri="{FF2B5EF4-FFF2-40B4-BE49-F238E27FC236}">
                <a16:creationId xmlns:a16="http://schemas.microsoft.com/office/drawing/2014/main" id="{A9D6585E-2BA3-45BD-BC49-CB4D9D6BE092}"/>
              </a:ext>
            </a:extLst>
          </p:cNvPr>
          <p:cNvSpPr txBox="1"/>
          <p:nvPr/>
        </p:nvSpPr>
        <p:spPr>
          <a:xfrm>
            <a:off x="9256230" y="3690755"/>
            <a:ext cx="1449070" cy="484813"/>
          </a:xfrm>
          <a:prstGeom prst="rect">
            <a:avLst/>
          </a:prstGeom>
        </p:spPr>
        <p:txBody>
          <a:bodyPr vert="horz" wrap="square" lIns="0" tIns="12700" rIns="0" bIns="0" rtlCol="0">
            <a:spAutoFit/>
          </a:bodyPr>
          <a:lstStyle/>
          <a:p>
            <a:pPr marL="12700" marR="5080" lvl="0" indent="0" defTabSz="914400" eaLnBrk="1" fontAlgn="auto" latinLnBrk="0" hangingPunct="1">
              <a:lnSpc>
                <a:spcPct val="112300"/>
              </a:lnSpc>
              <a:spcBef>
                <a:spcPts val="100"/>
              </a:spcBef>
              <a:spcAft>
                <a:spcPts val="0"/>
              </a:spcAft>
              <a:buClrTx/>
              <a:buSzTx/>
              <a:buFontTx/>
              <a:buNone/>
              <a:tabLst/>
              <a:defRPr/>
            </a:pPr>
            <a:r>
              <a:rPr kumimoji="0" lang="ja-JP" altLang="en-US" sz="1400" b="1" i="0" u="none" strike="noStrike" kern="0" cap="none" spc="-150" normalizeH="0" baseline="0" noProof="0">
                <a:ln>
                  <a:noFill/>
                </a:ln>
                <a:solidFill>
                  <a:srgbClr val="005295"/>
                </a:solidFill>
                <a:effectLst/>
                <a:uLnTx/>
                <a:uFillTx/>
                <a:latin typeface="游ゴシック Medium"/>
                <a:ea typeface="游ゴシック Medium"/>
                <a:cs typeface="YuGothic"/>
              </a:rPr>
              <a:t>クリーンエネルギーの</a:t>
            </a:r>
            <a:r>
              <a:rPr kumimoji="0" lang="ja-JP" altLang="en-US" sz="1400" b="1" i="0" u="none" strike="noStrike" kern="0" cap="none" spc="-65" normalizeH="0" baseline="0" noProof="0">
                <a:ln>
                  <a:noFill/>
                </a:ln>
                <a:solidFill>
                  <a:srgbClr val="005295"/>
                </a:solidFill>
                <a:effectLst/>
                <a:uLnTx/>
                <a:uFillTx/>
                <a:latin typeface="游ゴシック Medium"/>
                <a:ea typeface="游ゴシック Medium"/>
                <a:cs typeface="YuGothic"/>
              </a:rPr>
              <a:t>導入 約</a:t>
            </a:r>
            <a:r>
              <a:rPr kumimoji="0" lang="en-US" altLang="ja-JP" sz="1400" b="1" i="0" u="none" strike="noStrike" kern="0" cap="none" spc="-25" normalizeH="0" baseline="0" noProof="0">
                <a:ln>
                  <a:noFill/>
                </a:ln>
                <a:solidFill>
                  <a:srgbClr val="005295"/>
                </a:solidFill>
                <a:effectLst/>
                <a:uLnTx/>
                <a:uFillTx/>
                <a:latin typeface="游ゴシック Medium"/>
                <a:ea typeface="游ゴシック Medium"/>
                <a:cs typeface="YuGothic"/>
              </a:rPr>
              <a:t>70</a:t>
            </a:r>
            <a:r>
              <a:rPr kumimoji="0" lang="ja-JP" altLang="en-US" sz="1400" b="1" i="0" u="none" strike="noStrike" kern="0" cap="none" spc="-25" normalizeH="0" baseline="0" noProof="0">
                <a:ln>
                  <a:noFill/>
                </a:ln>
                <a:solidFill>
                  <a:srgbClr val="005295"/>
                </a:solidFill>
                <a:effectLst/>
                <a:uLnTx/>
                <a:uFillTx/>
                <a:latin typeface="游ゴシック Medium"/>
                <a:ea typeface="游ゴシック Medium"/>
                <a:cs typeface="YuGothic"/>
              </a:rPr>
              <a:t>％</a:t>
            </a:r>
            <a:endParaRPr kumimoji="0" lang="ja-JP" altLang="en-US" sz="1400" b="0" i="0" u="none" strike="noStrike" kern="0" cap="none" spc="0" normalizeH="0" baseline="0" noProof="0">
              <a:ln>
                <a:noFill/>
              </a:ln>
              <a:solidFill>
                <a:sysClr val="windowText" lastClr="000000"/>
              </a:solidFill>
              <a:effectLst/>
              <a:uLnTx/>
              <a:uFillTx/>
              <a:latin typeface="游ゴシック Medium"/>
              <a:ea typeface="游ゴシック Medium"/>
              <a:cs typeface="YuGothic"/>
            </a:endParaRPr>
          </a:p>
        </p:txBody>
      </p:sp>
      <p:sp>
        <p:nvSpPr>
          <p:cNvPr id="22" name="object 14">
            <a:extLst>
              <a:ext uri="{FF2B5EF4-FFF2-40B4-BE49-F238E27FC236}">
                <a16:creationId xmlns:a16="http://schemas.microsoft.com/office/drawing/2014/main" id="{92964576-8E88-40E6-8E84-CDF15C164B2D}"/>
              </a:ext>
            </a:extLst>
          </p:cNvPr>
          <p:cNvSpPr txBox="1"/>
          <p:nvPr/>
        </p:nvSpPr>
        <p:spPr>
          <a:xfrm>
            <a:off x="9266669" y="4923714"/>
            <a:ext cx="1449070" cy="271869"/>
          </a:xfrm>
          <a:prstGeom prst="rect">
            <a:avLst/>
          </a:prstGeom>
        </p:spPr>
        <p:txBody>
          <a:bodyPr vert="horz" wrap="square" lIns="0" tIns="86360" rIns="0" bIns="0" rtlCol="0">
            <a:spAutoFit/>
          </a:bodyPr>
          <a:lstStyle/>
          <a:p>
            <a:pPr marL="12700" marR="0" lvl="0" indent="0" defTabSz="914400" eaLnBrk="1" fontAlgn="auto" latinLnBrk="0" hangingPunct="1">
              <a:lnSpc>
                <a:spcPct val="100000"/>
              </a:lnSpc>
              <a:spcBef>
                <a:spcPts val="680"/>
              </a:spcBef>
              <a:spcAft>
                <a:spcPts val="0"/>
              </a:spcAft>
              <a:buClrTx/>
              <a:buSzTx/>
              <a:buFontTx/>
              <a:buNone/>
              <a:tabLst/>
              <a:defRPr/>
            </a:pPr>
            <a:r>
              <a:rPr kumimoji="0" sz="1200" b="0" i="0" u="none" strike="noStrike" kern="0" cap="none" spc="-55" normalizeH="0" baseline="0" noProof="0">
                <a:ln>
                  <a:noFill/>
                </a:ln>
                <a:solidFill>
                  <a:srgbClr val="585858"/>
                </a:solidFill>
                <a:effectLst/>
                <a:uLnTx/>
                <a:uFillTx/>
                <a:latin typeface="游ゴシック Medium"/>
                <a:ea typeface="游ゴシック Medium"/>
                <a:cs typeface="YuGo-Medium"/>
              </a:rPr>
              <a:t>残存</a:t>
            </a:r>
            <a:r>
              <a:rPr kumimoji="0" sz="1200" b="0" i="0" u="none" strike="noStrike" kern="0" cap="none" spc="-65" normalizeH="0" baseline="0" noProof="0">
                <a:ln>
                  <a:noFill/>
                </a:ln>
                <a:solidFill>
                  <a:srgbClr val="585858"/>
                </a:solidFill>
                <a:effectLst/>
                <a:uLnTx/>
                <a:uFillTx/>
                <a:latin typeface="游ゴシック Medium"/>
                <a:ea typeface="游ゴシック Medium"/>
                <a:cs typeface="YuGo-Medium"/>
              </a:rPr>
              <a:t>10%</a:t>
            </a:r>
            <a:r>
              <a:rPr kumimoji="0" sz="1200" b="0" i="0" u="none" strike="noStrike" kern="0" cap="none" spc="-55" normalizeH="0" baseline="0" noProof="0">
                <a:ln>
                  <a:noFill/>
                </a:ln>
                <a:solidFill>
                  <a:srgbClr val="585858"/>
                </a:solidFill>
                <a:effectLst/>
                <a:uLnTx/>
                <a:uFillTx/>
                <a:latin typeface="游ゴシック Medium"/>
                <a:ea typeface="游ゴシック Medium"/>
                <a:cs typeface="YuGo-Medium"/>
              </a:rPr>
              <a:t>未満</a:t>
            </a:r>
            <a:endParaRPr kumimoji="0" sz="1200" b="0" i="0" u="none" strike="noStrike" kern="0" cap="none" spc="0" normalizeH="0" baseline="0" noProof="0">
              <a:ln>
                <a:noFill/>
              </a:ln>
              <a:solidFill>
                <a:sysClr val="windowText" lastClr="000000"/>
              </a:solidFill>
              <a:effectLst/>
              <a:uLnTx/>
              <a:uFillTx/>
              <a:latin typeface="游ゴシック Medium"/>
              <a:ea typeface="游ゴシック Medium"/>
              <a:cs typeface="YuGo-Medium"/>
            </a:endParaRPr>
          </a:p>
        </p:txBody>
      </p:sp>
      <p:sp>
        <p:nvSpPr>
          <p:cNvPr id="23" name="テキスト ボックス 22">
            <a:extLst>
              <a:ext uri="{FF2B5EF4-FFF2-40B4-BE49-F238E27FC236}">
                <a16:creationId xmlns:a16="http://schemas.microsoft.com/office/drawing/2014/main" id="{30819B01-77F5-44B4-B49E-C0092D254DDD}"/>
              </a:ext>
            </a:extLst>
          </p:cNvPr>
          <p:cNvSpPr txBox="1"/>
          <p:nvPr/>
        </p:nvSpPr>
        <p:spPr>
          <a:xfrm>
            <a:off x="4260073" y="2280999"/>
            <a:ext cx="1245854" cy="246221"/>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srgbClr val="59595D"/>
                </a:solidFill>
                <a:effectLst/>
                <a:uLnTx/>
                <a:uFillTx/>
                <a:latin typeface="游ゴシック Medium"/>
                <a:ea typeface="游ゴシック Medium"/>
              </a:rPr>
              <a:t>縦軸：</a:t>
            </a:r>
            <a:r>
              <a:rPr kumimoji="0" lang="en-US" altLang="ja-JP" sz="1000" b="0" i="0" u="none" strike="noStrike" kern="0" cap="none" spc="0" normalizeH="0" baseline="0" noProof="0">
                <a:ln>
                  <a:noFill/>
                </a:ln>
                <a:solidFill>
                  <a:srgbClr val="59595D"/>
                </a:solidFill>
                <a:effectLst/>
                <a:uLnTx/>
                <a:uFillTx/>
                <a:latin typeface="游ゴシック Medium"/>
                <a:ea typeface="游ゴシック Medium"/>
              </a:rPr>
              <a:t>GHG</a:t>
            </a:r>
            <a:r>
              <a:rPr kumimoji="0" lang="ja-JP" altLang="en-US" sz="1000" b="0" i="0" u="none" strike="noStrike" kern="0" cap="none" spc="0" normalizeH="0" baseline="0" noProof="0">
                <a:ln>
                  <a:noFill/>
                </a:ln>
                <a:solidFill>
                  <a:srgbClr val="59595D"/>
                </a:solidFill>
                <a:effectLst/>
                <a:uLnTx/>
                <a:uFillTx/>
                <a:latin typeface="游ゴシック Medium"/>
                <a:ea typeface="游ゴシック Medium"/>
              </a:rPr>
              <a:t>排出量</a:t>
            </a:r>
          </a:p>
        </p:txBody>
      </p:sp>
      <p:sp>
        <p:nvSpPr>
          <p:cNvPr id="26" name="テキスト ボックス 25">
            <a:extLst>
              <a:ext uri="{FF2B5EF4-FFF2-40B4-BE49-F238E27FC236}">
                <a16:creationId xmlns:a16="http://schemas.microsoft.com/office/drawing/2014/main" id="{2431909B-009D-4FD4-A168-257A0F374FD5}"/>
              </a:ext>
            </a:extLst>
          </p:cNvPr>
          <p:cNvSpPr txBox="1"/>
          <p:nvPr/>
        </p:nvSpPr>
        <p:spPr>
          <a:xfrm>
            <a:off x="9159142" y="5223000"/>
            <a:ext cx="1980522" cy="523220"/>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ja-JP" altLang="en-US" sz="1400" b="1" i="0" u="none" strike="noStrike" kern="0" cap="none" spc="-200" normalizeH="0" baseline="0" noProof="0">
                <a:ln>
                  <a:noFill/>
                </a:ln>
                <a:solidFill>
                  <a:srgbClr val="005295"/>
                </a:solidFill>
                <a:effectLst/>
                <a:uLnTx/>
                <a:uFillTx/>
                <a:latin typeface="游ゴシック Medium"/>
                <a:ea typeface="游ゴシック Medium"/>
                <a:cs typeface="YuGothic"/>
              </a:rPr>
              <a:t>ネガティブ・エミッション</a:t>
            </a:r>
            <a:r>
              <a:rPr kumimoji="0" lang="ja-JP" altLang="en-US" sz="1400" b="1" i="0" u="none" strike="noStrike" kern="0" cap="none" spc="-145" normalizeH="0" baseline="0" noProof="0">
                <a:ln>
                  <a:noFill/>
                </a:ln>
                <a:solidFill>
                  <a:srgbClr val="005295"/>
                </a:solidFill>
                <a:effectLst/>
                <a:uLnTx/>
                <a:uFillTx/>
                <a:latin typeface="游ゴシック Medium"/>
                <a:ea typeface="游ゴシック Medium"/>
                <a:cs typeface="YuGothic"/>
              </a:rPr>
              <a:t>による中立化</a:t>
            </a:r>
            <a:endParaRPr kumimoji="0" lang="ja-JP" altLang="en-US" sz="1400" b="0" i="0" u="none" strike="noStrike" kern="0" cap="none" spc="0" normalizeH="0" baseline="0" noProof="0">
              <a:ln>
                <a:noFill/>
              </a:ln>
              <a:solidFill>
                <a:sysClr val="windowText" lastClr="000000"/>
              </a:solidFill>
              <a:effectLst/>
              <a:uLnTx/>
              <a:uFillTx/>
              <a:latin typeface="游ゴシック Medium"/>
              <a:ea typeface="游ゴシック Medium"/>
            </a:endParaRPr>
          </a:p>
        </p:txBody>
      </p:sp>
      <p:sp>
        <p:nvSpPr>
          <p:cNvPr id="27" name="object 2">
            <a:extLst>
              <a:ext uri="{FF2B5EF4-FFF2-40B4-BE49-F238E27FC236}">
                <a16:creationId xmlns:a16="http://schemas.microsoft.com/office/drawing/2014/main" id="{52D73377-65D0-4834-95FC-29E4B60F0712}"/>
              </a:ext>
            </a:extLst>
          </p:cNvPr>
          <p:cNvSpPr txBox="1"/>
          <p:nvPr/>
        </p:nvSpPr>
        <p:spPr>
          <a:xfrm>
            <a:off x="1007009" y="27507"/>
            <a:ext cx="2678477" cy="19749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altLang="ja-JP"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2.1</a:t>
            </a:r>
            <a:r>
              <a:rPr kumimoji="0" lang="ja-JP" altLang="en-US"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からの更新点</a:t>
            </a:r>
            <a:r>
              <a:rPr kumimoji="0" lang="en-US" altLang="ja-JP"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1</a:t>
            </a:r>
            <a:endParaRPr kumimoji="0"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endParaRPr>
          </a:p>
        </p:txBody>
      </p:sp>
      <p:sp>
        <p:nvSpPr>
          <p:cNvPr id="28" name="矢印: 五方向 27">
            <a:extLst>
              <a:ext uri="{FF2B5EF4-FFF2-40B4-BE49-F238E27FC236}">
                <a16:creationId xmlns:a16="http://schemas.microsoft.com/office/drawing/2014/main" id="{82256FF6-A0D3-4947-8450-EB7067E1570A}"/>
              </a:ext>
            </a:extLst>
          </p:cNvPr>
          <p:cNvSpPr/>
          <p:nvPr/>
        </p:nvSpPr>
        <p:spPr>
          <a:xfrm>
            <a:off x="10642886" y="290971"/>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4</a:t>
            </a:r>
            <a:endPar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29" name="矢印: 五方向 28">
            <a:extLst>
              <a:ext uri="{FF2B5EF4-FFF2-40B4-BE49-F238E27FC236}">
                <a16:creationId xmlns:a16="http://schemas.microsoft.com/office/drawing/2014/main" id="{851E7405-CB4E-4FEC-8C95-833C78E48B58}"/>
              </a:ext>
            </a:extLst>
          </p:cNvPr>
          <p:cNvSpPr/>
          <p:nvPr/>
        </p:nvSpPr>
        <p:spPr>
          <a:xfrm>
            <a:off x="10163578" y="290971"/>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3</a:t>
            </a:r>
            <a:endPar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30" name="矢印: 五方向 29">
            <a:extLst>
              <a:ext uri="{FF2B5EF4-FFF2-40B4-BE49-F238E27FC236}">
                <a16:creationId xmlns:a16="http://schemas.microsoft.com/office/drawing/2014/main" id="{D7DFF2EA-17E2-45D4-BA16-8E9B87BBF763}"/>
              </a:ext>
            </a:extLst>
          </p:cNvPr>
          <p:cNvSpPr/>
          <p:nvPr/>
        </p:nvSpPr>
        <p:spPr>
          <a:xfrm>
            <a:off x="7432161" y="290971"/>
            <a:ext cx="2859130" cy="329877"/>
          </a:xfrm>
          <a:prstGeom prst="homePlate">
            <a:avLst/>
          </a:prstGeom>
          <a:gradFill flip="none" rotWithShape="1">
            <a:gsLst>
              <a:gs pos="0">
                <a:schemeClr val="accent1">
                  <a:lumMod val="5000"/>
                  <a:lumOff val="95000"/>
                </a:schemeClr>
              </a:gs>
              <a:gs pos="2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2.</a:t>
            </a: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環境ビジョン</a:t>
            </a: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2.2</a:t>
            </a: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の全体像</a:t>
            </a:r>
          </a:p>
        </p:txBody>
      </p:sp>
      <p:sp>
        <p:nvSpPr>
          <p:cNvPr id="31" name="矢印: 五方向 30">
            <a:extLst>
              <a:ext uri="{FF2B5EF4-FFF2-40B4-BE49-F238E27FC236}">
                <a16:creationId xmlns:a16="http://schemas.microsoft.com/office/drawing/2014/main" id="{5E21C11A-40D8-44ED-BF07-21D44808E838}"/>
              </a:ext>
            </a:extLst>
          </p:cNvPr>
          <p:cNvSpPr/>
          <p:nvPr/>
        </p:nvSpPr>
        <p:spPr>
          <a:xfrm>
            <a:off x="7298690" y="290971"/>
            <a:ext cx="600928" cy="329877"/>
          </a:xfrm>
          <a:prstGeom prst="homePlate">
            <a:avLst/>
          </a:prstGeom>
          <a:gradFill flip="none" rotWithShape="1">
            <a:gsLst>
              <a:gs pos="0">
                <a:schemeClr val="accent1">
                  <a:lumMod val="5000"/>
                  <a:lumOff val="95000"/>
                </a:schemeClr>
              </a:gs>
              <a:gs pos="50000">
                <a:schemeClr val="tx1">
                  <a:lumMod val="20000"/>
                  <a:lumOff val="80000"/>
                </a:schemeClr>
              </a:gs>
              <a:gs pos="100000">
                <a:schemeClr val="tx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１</a:t>
            </a:r>
          </a:p>
        </p:txBody>
      </p:sp>
      <p:sp>
        <p:nvSpPr>
          <p:cNvPr id="32" name="object 4">
            <a:extLst>
              <a:ext uri="{FF2B5EF4-FFF2-40B4-BE49-F238E27FC236}">
                <a16:creationId xmlns:a16="http://schemas.microsoft.com/office/drawing/2014/main" id="{A68E5F23-8089-4392-9048-88670D244221}"/>
              </a:ext>
            </a:extLst>
          </p:cNvPr>
          <p:cNvSpPr txBox="1">
            <a:spLocks/>
          </p:cNvSpPr>
          <p:nvPr/>
        </p:nvSpPr>
        <p:spPr>
          <a:xfrm>
            <a:off x="0" y="16515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altLang="ja-JP" sz="4500" b="0" i="0" u="none" strike="noStrike" kern="0" cap="none" spc="0" normalizeH="0" baseline="0" noProof="0">
                <a:ln>
                  <a:noFill/>
                </a:ln>
                <a:solidFill>
                  <a:srgbClr val="FFFFFF"/>
                </a:solidFill>
                <a:effectLst/>
                <a:uLnTx/>
                <a:uFillTx/>
                <a:latin typeface="Yu Gothic Light" panose="020B0300000000000000" pitchFamily="34" charset="-128"/>
                <a:ea typeface="Yu Gothic Light" panose="020B0300000000000000" pitchFamily="34" charset="-128"/>
                <a:cs typeface="+mj-cs"/>
              </a:rPr>
              <a:t>2</a:t>
            </a:r>
          </a:p>
        </p:txBody>
      </p:sp>
      <p:sp>
        <p:nvSpPr>
          <p:cNvPr id="33" name="object 2">
            <a:extLst>
              <a:ext uri="{FF2B5EF4-FFF2-40B4-BE49-F238E27FC236}">
                <a16:creationId xmlns:a16="http://schemas.microsoft.com/office/drawing/2014/main" id="{D90E9306-AABF-4768-AC17-B18D1166C020}"/>
              </a:ext>
            </a:extLst>
          </p:cNvPr>
          <p:cNvSpPr txBox="1"/>
          <p:nvPr/>
        </p:nvSpPr>
        <p:spPr>
          <a:xfrm>
            <a:off x="1" y="75317"/>
            <a:ext cx="864000" cy="19729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Yu Gothic Medium" panose="020B0400000000000000" pitchFamily="34" charset="-128"/>
                <a:ea typeface="Yu Gothic Medium" panose="020B0400000000000000" pitchFamily="34" charset="-128"/>
                <a:cs typeface="YuGothicStd-M"/>
              </a:rPr>
              <a:t>Section</a:t>
            </a:r>
            <a:endParaRPr kumimoji="0" sz="1200" b="0" i="0" u="none" strike="noStrike" kern="0" cap="none" spc="0" normalizeH="0" baseline="0" noProof="0">
              <a:ln>
                <a:noFill/>
              </a:ln>
              <a:solidFill>
                <a:srgbClr val="FFFFFF"/>
              </a:solidFill>
              <a:effectLst/>
              <a:uLnTx/>
              <a:uFillTx/>
              <a:latin typeface="Yu Gothic Medium" panose="020B0400000000000000" pitchFamily="34" charset="-128"/>
              <a:ea typeface="Yu Gothic Medium" panose="020B0400000000000000" pitchFamily="34" charset="-128"/>
              <a:cs typeface="YuGothicStd-M"/>
            </a:endParaRPr>
          </a:p>
        </p:txBody>
      </p:sp>
      <p:sp>
        <p:nvSpPr>
          <p:cNvPr id="38" name="テキスト プレースホルダー 2">
            <a:extLst>
              <a:ext uri="{FF2B5EF4-FFF2-40B4-BE49-F238E27FC236}">
                <a16:creationId xmlns:a16="http://schemas.microsoft.com/office/drawing/2014/main" id="{C73F747E-D4FE-4DBA-A42F-2729A1761F6F}"/>
              </a:ext>
            </a:extLst>
          </p:cNvPr>
          <p:cNvSpPr txBox="1">
            <a:spLocks/>
          </p:cNvSpPr>
          <p:nvPr/>
        </p:nvSpPr>
        <p:spPr>
          <a:xfrm>
            <a:off x="5765869" y="5995918"/>
            <a:ext cx="4998637" cy="322536"/>
          </a:xfrm>
          <a:prstGeom prst="rect">
            <a:avLst/>
          </a:prstGeom>
        </p:spPr>
        <p:txBody>
          <a:bodyPr wrap="square" lIns="0" tIns="0" rIns="0" bIns="0">
            <a:noAutofit/>
          </a:bodyPr>
          <a:lstStyle>
            <a:lvl1pPr marL="14400">
              <a:lnSpc>
                <a:spcPct val="130000"/>
              </a:lnSpc>
              <a:spcBef>
                <a:spcPts val="100"/>
              </a:spcBef>
              <a:spcAft>
                <a:spcPts val="500"/>
              </a:spcAft>
              <a:defRPr sz="1600" b="0" i="0">
                <a:solidFill>
                  <a:schemeClr val="tx1"/>
                </a:solidFill>
                <a:latin typeface="Yu Gothic Medium" panose="020B0400000000000000" pitchFamily="34" charset="-128"/>
                <a:ea typeface="Yu Gothic Medium" panose="020B0400000000000000" pitchFamily="34" charset="-128"/>
                <a:cs typeface="+mn-cs"/>
              </a:defRPr>
            </a:lvl1pPr>
            <a:lvl2pPr marL="457200">
              <a:spcAft>
                <a:spcPts val="500"/>
              </a:spcAft>
              <a:defRPr sz="1600" b="0" i="0">
                <a:solidFill>
                  <a:schemeClr val="tx1"/>
                </a:solidFill>
                <a:latin typeface="Yu Gothic Medium" panose="020B0400000000000000" pitchFamily="34" charset="-128"/>
                <a:ea typeface="Yu Gothic Medium" panose="020B0400000000000000" pitchFamily="34" charset="-128"/>
                <a:cs typeface="+mn-cs"/>
              </a:defRPr>
            </a:lvl2pPr>
            <a:lvl3pPr marL="914400">
              <a:spcAft>
                <a:spcPts val="500"/>
              </a:spcAft>
              <a:defRPr sz="1600" b="0" i="0">
                <a:solidFill>
                  <a:schemeClr val="tx1"/>
                </a:solidFill>
                <a:latin typeface="Yu Gothic Medium" panose="020B0400000000000000" pitchFamily="34" charset="-128"/>
                <a:ea typeface="Yu Gothic Medium" panose="020B0400000000000000" pitchFamily="34" charset="-128"/>
                <a:cs typeface="+mn-cs"/>
              </a:defRPr>
            </a:lvl3pPr>
            <a:lvl4pPr marL="1371600">
              <a:spcAft>
                <a:spcPts val="500"/>
              </a:spcAft>
              <a:defRPr sz="1600" b="0" i="0">
                <a:solidFill>
                  <a:schemeClr val="tx1"/>
                </a:solidFill>
                <a:latin typeface="Yu Gothic Medium" panose="020B0400000000000000" pitchFamily="34" charset="-128"/>
                <a:ea typeface="Yu Gothic Medium" panose="020B0400000000000000" pitchFamily="34" charset="-128"/>
                <a:cs typeface="+mn-cs"/>
              </a:defRPr>
            </a:lvl4pPr>
            <a:lvl5pPr marL="1828800">
              <a:spcAft>
                <a:spcPts val="500"/>
              </a:spcAft>
              <a:defRPr sz="1600" b="0" i="0">
                <a:solidFill>
                  <a:schemeClr val="tx1"/>
                </a:solidFill>
                <a:latin typeface="Yu Gothic Medium" panose="020B0400000000000000" pitchFamily="34" charset="-128"/>
                <a:ea typeface="Yu Gothic Medium" panose="020B0400000000000000" pitchFamily="34" charset="-128"/>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4400" marR="0" lvl="0" indent="0" defTabSz="9144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a:ln>
                <a:noFill/>
              </a:ln>
              <a:solidFill>
                <a:srgbClr val="59595D"/>
              </a:solidFill>
              <a:effectLst/>
              <a:uLnTx/>
              <a:uFillTx/>
              <a:latin typeface="Yu Gothic Medium" panose="020B0400000000000000" pitchFamily="34" charset="-128"/>
              <a:ea typeface="Yu Gothic Medium" panose="020B0400000000000000" pitchFamily="34" charset="-128"/>
              <a:cs typeface="+mn-cs"/>
            </a:endParaRPr>
          </a:p>
        </p:txBody>
      </p:sp>
      <p:cxnSp>
        <p:nvCxnSpPr>
          <p:cNvPr id="34" name="直線コネクタ 33">
            <a:extLst>
              <a:ext uri="{FF2B5EF4-FFF2-40B4-BE49-F238E27FC236}">
                <a16:creationId xmlns:a16="http://schemas.microsoft.com/office/drawing/2014/main" id="{ED5BA1A0-2D1C-479E-AE69-9B1005CA6880}"/>
              </a:ext>
            </a:extLst>
          </p:cNvPr>
          <p:cNvCxnSpPr>
            <a:cxnSpLocks/>
          </p:cNvCxnSpPr>
          <p:nvPr/>
        </p:nvCxnSpPr>
        <p:spPr>
          <a:xfrm flipH="1">
            <a:off x="7544056" y="4710010"/>
            <a:ext cx="213305" cy="118389"/>
          </a:xfrm>
          <a:prstGeom prst="line">
            <a:avLst/>
          </a:prstGeom>
          <a:ln>
            <a:solidFill>
              <a:schemeClr val="bg1"/>
            </a:solidFill>
            <a:headEnd type="oval"/>
          </a:ln>
        </p:spPr>
        <p:style>
          <a:lnRef idx="1">
            <a:schemeClr val="accent1"/>
          </a:lnRef>
          <a:fillRef idx="0">
            <a:schemeClr val="accent1"/>
          </a:fillRef>
          <a:effectRef idx="0">
            <a:schemeClr val="accent1"/>
          </a:effectRef>
          <a:fontRef idx="minor">
            <a:schemeClr val="tx1"/>
          </a:fontRef>
        </p:style>
      </p:cxnSp>
      <p:sp>
        <p:nvSpPr>
          <p:cNvPr id="47" name="object 8">
            <a:extLst>
              <a:ext uri="{FF2B5EF4-FFF2-40B4-BE49-F238E27FC236}">
                <a16:creationId xmlns:a16="http://schemas.microsoft.com/office/drawing/2014/main" id="{0C5FB4D1-B3DC-471C-8651-18848B14D4F0}"/>
              </a:ext>
            </a:extLst>
          </p:cNvPr>
          <p:cNvSpPr txBox="1"/>
          <p:nvPr/>
        </p:nvSpPr>
        <p:spPr>
          <a:xfrm>
            <a:off x="4290364" y="5483292"/>
            <a:ext cx="497992" cy="197490"/>
          </a:xfrm>
          <a:prstGeom prst="rect">
            <a:avLst/>
          </a:prstGeom>
        </p:spPr>
        <p:txBody>
          <a:bodyPr vert="horz" wrap="square" lIns="0" tIns="12700" rIns="0" bIns="0" rtlCol="0">
            <a:spAutoFit/>
          </a:bodyPr>
          <a:lstStyle/>
          <a:p>
            <a:pPr marL="12700" marR="0" lvl="0" indent="0" algn="l" defTabSz="914400" eaLnBrk="1" fontAlgn="auto" latinLnBrk="0" hangingPunct="1">
              <a:lnSpc>
                <a:spcPct val="100000"/>
              </a:lnSpc>
              <a:spcBef>
                <a:spcPts val="100"/>
              </a:spcBef>
              <a:spcAft>
                <a:spcPts val="0"/>
              </a:spcAft>
              <a:buClrTx/>
              <a:buSzTx/>
              <a:buFontTx/>
              <a:buNone/>
              <a:tabLst/>
              <a:defRPr/>
            </a:pPr>
            <a:r>
              <a:rPr kumimoji="0" lang="en-US" sz="1200" b="0" i="0" u="none" strike="noStrike" kern="0" cap="none" spc="-8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2019</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49" name="object 8">
            <a:extLst>
              <a:ext uri="{FF2B5EF4-FFF2-40B4-BE49-F238E27FC236}">
                <a16:creationId xmlns:a16="http://schemas.microsoft.com/office/drawing/2014/main" id="{58A3DC64-AA7D-4414-9EAA-563AFB303B0D}"/>
              </a:ext>
            </a:extLst>
          </p:cNvPr>
          <p:cNvSpPr txBox="1"/>
          <p:nvPr/>
        </p:nvSpPr>
        <p:spPr>
          <a:xfrm>
            <a:off x="5135232" y="5483292"/>
            <a:ext cx="497992" cy="197490"/>
          </a:xfrm>
          <a:prstGeom prst="rect">
            <a:avLst/>
          </a:prstGeom>
        </p:spPr>
        <p:txBody>
          <a:bodyPr vert="horz" wrap="square" lIns="0" tIns="12700" rIns="0" bIns="0" rtlCol="0">
            <a:spAutoFit/>
          </a:bodyPr>
          <a:lstStyle/>
          <a:p>
            <a:pPr marL="12700" marR="0" lvl="0" indent="0" algn="l" defTabSz="914400" eaLnBrk="1" fontAlgn="auto" latinLnBrk="0" hangingPunct="1">
              <a:lnSpc>
                <a:spcPct val="100000"/>
              </a:lnSpc>
              <a:spcBef>
                <a:spcPts val="100"/>
              </a:spcBef>
              <a:spcAft>
                <a:spcPts val="0"/>
              </a:spcAft>
              <a:buClrTx/>
              <a:buSzTx/>
              <a:buFontTx/>
              <a:buNone/>
              <a:tabLst/>
              <a:defRPr/>
            </a:pPr>
            <a:r>
              <a:rPr kumimoji="0" lang="en-US" sz="1200" b="0" i="0" u="none" strike="noStrike" kern="0" cap="none" spc="-8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2025</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50" name="object 8">
            <a:extLst>
              <a:ext uri="{FF2B5EF4-FFF2-40B4-BE49-F238E27FC236}">
                <a16:creationId xmlns:a16="http://schemas.microsoft.com/office/drawing/2014/main" id="{6203BF94-DA0C-449C-B6C8-7762E57E2274}"/>
              </a:ext>
            </a:extLst>
          </p:cNvPr>
          <p:cNvSpPr txBox="1"/>
          <p:nvPr/>
        </p:nvSpPr>
        <p:spPr>
          <a:xfrm>
            <a:off x="6041506" y="5483292"/>
            <a:ext cx="497992" cy="197490"/>
          </a:xfrm>
          <a:prstGeom prst="rect">
            <a:avLst/>
          </a:prstGeom>
        </p:spPr>
        <p:txBody>
          <a:bodyPr vert="horz" wrap="square" lIns="0" tIns="12700" rIns="0" bIns="0" rtlCol="0">
            <a:spAutoFit/>
          </a:bodyPr>
          <a:lstStyle/>
          <a:p>
            <a:pPr marL="12700" marR="0" lvl="0" indent="0" algn="l" defTabSz="914400" eaLnBrk="1" fontAlgn="auto" latinLnBrk="0" hangingPunct="1">
              <a:lnSpc>
                <a:spcPct val="100000"/>
              </a:lnSpc>
              <a:spcBef>
                <a:spcPts val="100"/>
              </a:spcBef>
              <a:spcAft>
                <a:spcPts val="0"/>
              </a:spcAft>
              <a:buClrTx/>
              <a:buSzTx/>
              <a:buFontTx/>
              <a:buNone/>
              <a:tabLst/>
              <a:defRPr/>
            </a:pPr>
            <a:r>
              <a:rPr kumimoji="0" lang="en-US" sz="1200" b="0" i="0" u="none" strike="noStrike" kern="0" cap="none" spc="-8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2030</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54" name="object 8">
            <a:extLst>
              <a:ext uri="{FF2B5EF4-FFF2-40B4-BE49-F238E27FC236}">
                <a16:creationId xmlns:a16="http://schemas.microsoft.com/office/drawing/2014/main" id="{44FBFA0B-6370-48BE-A9A1-C1AAC49C583F}"/>
              </a:ext>
            </a:extLst>
          </p:cNvPr>
          <p:cNvSpPr txBox="1"/>
          <p:nvPr/>
        </p:nvSpPr>
        <p:spPr>
          <a:xfrm>
            <a:off x="6637378" y="5483292"/>
            <a:ext cx="497992" cy="197490"/>
          </a:xfrm>
          <a:prstGeom prst="rect">
            <a:avLst/>
          </a:prstGeom>
        </p:spPr>
        <p:txBody>
          <a:bodyPr vert="horz" wrap="square" lIns="0" tIns="12700" rIns="0" bIns="0" rtlCol="0">
            <a:spAutoFit/>
          </a:bodyPr>
          <a:lstStyle/>
          <a:p>
            <a:pPr marL="12700" marR="0" lvl="0" indent="0" algn="l" defTabSz="914400" eaLnBrk="1" fontAlgn="auto" latinLnBrk="0" hangingPunct="1">
              <a:lnSpc>
                <a:spcPct val="100000"/>
              </a:lnSpc>
              <a:spcBef>
                <a:spcPts val="100"/>
              </a:spcBef>
              <a:spcAft>
                <a:spcPts val="0"/>
              </a:spcAft>
              <a:buClrTx/>
              <a:buSzTx/>
              <a:buFontTx/>
              <a:buNone/>
              <a:tabLst/>
              <a:defRPr/>
            </a:pPr>
            <a:r>
              <a:rPr kumimoji="0" lang="en-US" sz="1200" b="0" i="0" u="none" strike="noStrike" kern="0" cap="none" spc="-80" normalizeH="0" baseline="0" noProof="0">
                <a:ln>
                  <a:noFill/>
                </a:ln>
                <a:solidFill>
                  <a:srgbClr val="585858"/>
                </a:solidFill>
                <a:effectLst/>
                <a:uLnTx/>
                <a:uFillTx/>
                <a:latin typeface="游ゴシック Medium" panose="020B0500000000000000" pitchFamily="50" charset="-128"/>
                <a:ea typeface="游ゴシック Medium" panose="020B0500000000000000" pitchFamily="50" charset="-128"/>
                <a:cs typeface="YuGo-Medium"/>
              </a:rPr>
              <a:t>2035</a:t>
            </a:r>
            <a:endParaRPr kumimoji="0" sz="1200" b="0" i="0" u="none" strike="noStrike" kern="0" cap="none" spc="0" normalizeH="0" baseline="0" noProof="0">
              <a:ln>
                <a:noFill/>
              </a:ln>
              <a:solidFill>
                <a:sysClr val="windowText" lastClr="000000"/>
              </a:solidFill>
              <a:effectLst/>
              <a:uLnTx/>
              <a:uFillTx/>
              <a:latin typeface="游ゴシック Medium" panose="020B0500000000000000" pitchFamily="50" charset="-128"/>
              <a:ea typeface="游ゴシック Medium" panose="020B0500000000000000" pitchFamily="50" charset="-128"/>
              <a:cs typeface="YuGo-Medium"/>
            </a:endParaRPr>
          </a:p>
        </p:txBody>
      </p:sp>
      <p:sp>
        <p:nvSpPr>
          <p:cNvPr id="55" name="object 8">
            <a:extLst>
              <a:ext uri="{FF2B5EF4-FFF2-40B4-BE49-F238E27FC236}">
                <a16:creationId xmlns:a16="http://schemas.microsoft.com/office/drawing/2014/main" id="{572D0D7E-4E8E-4658-90AB-A426B3434DC6}"/>
              </a:ext>
            </a:extLst>
          </p:cNvPr>
          <p:cNvSpPr txBox="1"/>
          <p:nvPr/>
        </p:nvSpPr>
        <p:spPr>
          <a:xfrm>
            <a:off x="8696858" y="5483292"/>
            <a:ext cx="497992" cy="197490"/>
          </a:xfrm>
          <a:prstGeom prst="rect">
            <a:avLst/>
          </a:prstGeom>
        </p:spPr>
        <p:txBody>
          <a:bodyPr vert="horz" wrap="square" lIns="0" tIns="12700" rIns="0" bIns="0" rtlCol="0">
            <a:spAutoFit/>
          </a:bodyPr>
          <a:lstStyle/>
          <a:p>
            <a:pPr marL="12700" marR="0" lvl="0" indent="0" algn="l" defTabSz="914400" eaLnBrk="1" fontAlgn="auto" latinLnBrk="0" hangingPunct="1">
              <a:lnSpc>
                <a:spcPct val="100000"/>
              </a:lnSpc>
              <a:spcBef>
                <a:spcPts val="100"/>
              </a:spcBef>
              <a:spcAft>
                <a:spcPts val="0"/>
              </a:spcAft>
              <a:buClrTx/>
              <a:buSzTx/>
              <a:buFontTx/>
              <a:buNone/>
              <a:tabLst/>
              <a:defRPr/>
            </a:pPr>
            <a:r>
              <a:rPr kumimoji="0" lang="en-US" sz="1200" b="0" i="0" u="none" strike="noStrike" kern="0" cap="none" spc="0" normalizeH="0" baseline="0" noProof="0">
                <a:ln>
                  <a:noFill/>
                </a:ln>
                <a:solidFill>
                  <a:srgbClr val="59595D"/>
                </a:solidFill>
                <a:effectLst/>
                <a:uLnTx/>
                <a:uFillTx/>
                <a:latin typeface="游ゴシック Medium" panose="020B0500000000000000" pitchFamily="50" charset="-128"/>
                <a:ea typeface="游ゴシック Medium" panose="020B0500000000000000" pitchFamily="50" charset="-128"/>
                <a:cs typeface="YuGo-Medium"/>
              </a:rPr>
              <a:t>2050</a:t>
            </a:r>
          </a:p>
        </p:txBody>
      </p:sp>
    </p:spTree>
    <p:extLst>
      <p:ext uri="{BB962C8B-B14F-4D97-AF65-F5344CB8AC3E}">
        <p14:creationId xmlns:p14="http://schemas.microsoft.com/office/powerpoint/2010/main" val="35763422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5F7744C-C078-48DC-982D-F821B7938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6" name="think-cell data - do not delete" hidden="1">
                        <a:extLst>
                          <a:ext uri="{FF2B5EF4-FFF2-40B4-BE49-F238E27FC236}">
                            <a16:creationId xmlns:a16="http://schemas.microsoft.com/office/drawing/2014/main" id="{B5F7744C-C078-48DC-982D-F821B7938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79412FD-3887-4445-84E9-C9C16BDCA29D}"/>
              </a:ext>
            </a:extLst>
          </p:cNvPr>
          <p:cNvSpPr>
            <a:spLocks noGrp="1"/>
          </p:cNvSpPr>
          <p:nvPr>
            <p:ph type="title"/>
          </p:nvPr>
        </p:nvSpPr>
        <p:spPr/>
        <p:txBody>
          <a:bodyPr vert="horz"/>
          <a:lstStyle/>
          <a:p>
            <a:r>
              <a:rPr kumimoji="1" lang="en-US" altLang="ja-JP"/>
              <a:t>KPI&amp;</a:t>
            </a:r>
            <a:r>
              <a:rPr kumimoji="1" lang="ja-JP" altLang="en-US"/>
              <a:t>マイルストーンの整備</a:t>
            </a:r>
          </a:p>
        </p:txBody>
      </p:sp>
      <p:sp>
        <p:nvSpPr>
          <p:cNvPr id="4" name="スライド番号プレースホルダー 3">
            <a:extLst>
              <a:ext uri="{FF2B5EF4-FFF2-40B4-BE49-F238E27FC236}">
                <a16:creationId xmlns:a16="http://schemas.microsoft.com/office/drawing/2014/main" id="{8878614C-6A37-406C-B202-49414516E43F}"/>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34A25005-A456-2C43-92D8-007A27047B97}" type="slidenum">
              <a:rPr kumimoji="1" lang="ja-JP" altLang="en-US" sz="1000" b="0" i="0" u="none" strike="noStrike" kern="0" cap="none" spc="0" normalizeH="0" baseline="0" noProof="0" smtClean="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1" lang="ja-JP" altLang="en-US" sz="1000" b="0" i="0" u="none" strike="noStrike" kern="0" cap="none" spc="0" normalizeH="0" baseline="0" noProof="0" dirty="0">
              <a:ln>
                <a:noFill/>
              </a:ln>
              <a:solidFill>
                <a:srgbClr val="FFFFFF"/>
              </a:solidFill>
              <a:effectLst/>
              <a:uLnTx/>
              <a:uFillTx/>
              <a:latin typeface="Yu Gothic Medium" panose="020B0400000000000000" pitchFamily="34" charset="-128"/>
              <a:ea typeface="Yu Gothic Medium" panose="020B0400000000000000" pitchFamily="34" charset="-128"/>
              <a:cs typeface="Arial" panose="020B0604020202020204" pitchFamily="34" charset="0"/>
            </a:endParaRPr>
          </a:p>
        </p:txBody>
      </p:sp>
      <p:pic>
        <p:nvPicPr>
          <p:cNvPr id="87" name="bg object 17">
            <a:extLst>
              <a:ext uri="{FF2B5EF4-FFF2-40B4-BE49-F238E27FC236}">
                <a16:creationId xmlns:a16="http://schemas.microsoft.com/office/drawing/2014/main" id="{4FCD315F-3F6D-4890-8963-B6FDD56E1739}"/>
              </a:ext>
            </a:extLst>
          </p:cNvPr>
          <p:cNvPicPr/>
          <p:nvPr/>
        </p:nvPicPr>
        <p:blipFill>
          <a:blip r:embed="rId5" cstate="print">
            <a:extLst>
              <a:ext uri="{28A0092B-C50C-407E-A947-70E740481C1C}">
                <a14:useLocalDpi xmlns:a14="http://schemas.microsoft.com/office/drawing/2010/main"/>
              </a:ext>
            </a:extLst>
          </a:blip>
          <a:stretch>
            <a:fillRect/>
          </a:stretch>
        </p:blipFill>
        <p:spPr>
          <a:xfrm>
            <a:off x="-1410" y="882408"/>
            <a:ext cx="12193193" cy="5494633"/>
          </a:xfrm>
          <a:prstGeom prst="rect">
            <a:avLst/>
          </a:prstGeom>
        </p:spPr>
      </p:pic>
      <p:sp>
        <p:nvSpPr>
          <p:cNvPr id="88" name="object 4">
            <a:extLst>
              <a:ext uri="{FF2B5EF4-FFF2-40B4-BE49-F238E27FC236}">
                <a16:creationId xmlns:a16="http://schemas.microsoft.com/office/drawing/2014/main" id="{CCDD65A4-D586-41CB-99B8-1BD10251EA9D}"/>
              </a:ext>
            </a:extLst>
          </p:cNvPr>
          <p:cNvSpPr txBox="1"/>
          <p:nvPr/>
        </p:nvSpPr>
        <p:spPr>
          <a:xfrm>
            <a:off x="930563" y="1046212"/>
            <a:ext cx="9360728" cy="25904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lang="ja-JP" altLang="en-US" sz="1600" b="0" i="0" u="none" strike="noStrike" kern="0" cap="none" spc="-175" normalizeH="0" baseline="0" noProof="0">
                <a:ln>
                  <a:noFill/>
                </a:ln>
                <a:solidFill>
                  <a:srgbClr val="585858"/>
                </a:solidFill>
                <a:effectLst/>
                <a:uLnTx/>
                <a:uFillTx/>
                <a:latin typeface="游ゴシック Medium"/>
                <a:ea typeface="游ゴシック Medium"/>
                <a:cs typeface="YuGo-Medium"/>
              </a:rPr>
              <a:t>ネットゼロを確実に達成するため、</a:t>
            </a:r>
            <a:r>
              <a:rPr kumimoji="0" lang="ja-JP" altLang="en-US" sz="1600" b="0" i="0" u="none" strike="noStrike" kern="0" cap="none" spc="-175" normalizeH="0" baseline="0" noProof="0">
                <a:ln>
                  <a:noFill/>
                </a:ln>
                <a:solidFill>
                  <a:srgbClr val="59595D"/>
                </a:solidFill>
                <a:effectLst/>
                <a:uLnTx/>
                <a:uFillTx/>
                <a:latin typeface="游ゴシック Medium"/>
                <a:ea typeface="游ゴシック Medium"/>
                <a:cs typeface="YuGo-Medium"/>
              </a:rPr>
              <a:t>アクションごとに進捗を測る</a:t>
            </a:r>
            <a:r>
              <a:rPr kumimoji="0" lang="ja-JP" altLang="en-US" sz="1600" b="0" i="0" u="none" strike="noStrike" kern="0" cap="none" spc="-175" normalizeH="0" baseline="0" noProof="0">
                <a:ln>
                  <a:noFill/>
                </a:ln>
                <a:solidFill>
                  <a:srgbClr val="585858"/>
                </a:solidFill>
                <a:effectLst/>
                <a:uLnTx/>
                <a:uFillTx/>
                <a:latin typeface="游ゴシック Medium"/>
                <a:ea typeface="游ゴシック Medium"/>
                <a:cs typeface="YuGo-Medium"/>
              </a:rPr>
              <a:t>定量</a:t>
            </a:r>
            <a:r>
              <a:rPr kumimoji="0" lang="en-US" altLang="ja-JP" sz="1600" b="0" i="0" u="none" strike="noStrike" kern="0" cap="none" spc="-70" normalizeH="0" baseline="0" noProof="0">
                <a:ln>
                  <a:noFill/>
                </a:ln>
                <a:solidFill>
                  <a:srgbClr val="585858"/>
                </a:solidFill>
                <a:effectLst/>
                <a:uLnTx/>
                <a:uFillTx/>
                <a:latin typeface="游ゴシック Medium"/>
                <a:ea typeface="游ゴシック Medium"/>
                <a:cs typeface="YuGo-Medium"/>
              </a:rPr>
              <a:t>KPI</a:t>
            </a:r>
            <a:r>
              <a:rPr kumimoji="0" lang="ja-JP" altLang="en-US" sz="1600" b="0" i="0" u="none" strike="noStrike" kern="0" cap="none" spc="-200" normalizeH="0" baseline="0" noProof="0">
                <a:ln>
                  <a:noFill/>
                </a:ln>
                <a:solidFill>
                  <a:srgbClr val="585858"/>
                </a:solidFill>
                <a:effectLst/>
                <a:uLnTx/>
                <a:uFillTx/>
                <a:latin typeface="游ゴシック Medium"/>
                <a:ea typeface="游ゴシック Medium"/>
                <a:cs typeface="YuGo-Medium"/>
              </a:rPr>
              <a:t>とマイルストーンを設置しました。</a:t>
            </a:r>
            <a:endParaRPr kumimoji="0" lang="ja-JP" altLang="en-US" sz="1600" b="0" i="0" u="none" strike="noStrike" kern="0" cap="none" spc="0" normalizeH="0" baseline="0" noProof="0">
              <a:ln>
                <a:noFill/>
              </a:ln>
              <a:solidFill>
                <a:sysClr val="windowText" lastClr="000000"/>
              </a:solidFill>
              <a:effectLst/>
              <a:uLnTx/>
              <a:uFillTx/>
              <a:latin typeface="游ゴシック Medium"/>
              <a:ea typeface="游ゴシック Medium"/>
              <a:cs typeface="YuGo-Medium"/>
            </a:endParaRPr>
          </a:p>
        </p:txBody>
      </p:sp>
      <p:pic>
        <p:nvPicPr>
          <p:cNvPr id="89" name="object 14">
            <a:extLst>
              <a:ext uri="{FF2B5EF4-FFF2-40B4-BE49-F238E27FC236}">
                <a16:creationId xmlns:a16="http://schemas.microsoft.com/office/drawing/2014/main" id="{D9FF8398-30B2-4F83-99B0-9D2E14042458}"/>
              </a:ext>
            </a:extLst>
          </p:cNvPr>
          <p:cNvPicPr/>
          <p:nvPr/>
        </p:nvPicPr>
        <p:blipFill rotWithShape="1">
          <a:blip r:embed="rId6" cstate="print">
            <a:alphaModFix amt="50000"/>
            <a:extLst>
              <a:ext uri="{BEBA8EAE-BF5A-486C-A8C5-ECC9F3942E4B}">
                <a14:imgProps xmlns:a14="http://schemas.microsoft.com/office/drawing/2010/main">
                  <a14:imgLayer r:embed="rId7">
                    <a14:imgEffect>
                      <a14:colorTemperature colorTemp="4700"/>
                    </a14:imgEffect>
                    <a14:imgEffect>
                      <a14:saturation sat="200000"/>
                    </a14:imgEffect>
                    <a14:imgEffect>
                      <a14:brightnessContrast contrast="20000"/>
                    </a14:imgEffect>
                  </a14:imgLayer>
                </a14:imgProps>
              </a:ext>
              <a:ext uri="{28A0092B-C50C-407E-A947-70E740481C1C}">
                <a14:useLocalDpi xmlns:a14="http://schemas.microsoft.com/office/drawing/2010/main"/>
              </a:ext>
            </a:extLst>
          </a:blip>
          <a:srcRect t="21297"/>
          <a:stretch/>
        </p:blipFill>
        <p:spPr>
          <a:xfrm>
            <a:off x="9685641" y="862088"/>
            <a:ext cx="2506359" cy="2700280"/>
          </a:xfrm>
          <a:prstGeom prst="rect">
            <a:avLst/>
          </a:prstGeom>
        </p:spPr>
      </p:pic>
      <p:sp>
        <p:nvSpPr>
          <p:cNvPr id="90" name="テキスト ボックス 89">
            <a:extLst>
              <a:ext uri="{FF2B5EF4-FFF2-40B4-BE49-F238E27FC236}">
                <a16:creationId xmlns:a16="http://schemas.microsoft.com/office/drawing/2014/main" id="{A1F1375B-5B8B-435B-97FE-4C81A0C1F5AF}"/>
              </a:ext>
            </a:extLst>
          </p:cNvPr>
          <p:cNvSpPr txBox="1"/>
          <p:nvPr/>
        </p:nvSpPr>
        <p:spPr>
          <a:xfrm>
            <a:off x="10125507" y="1402849"/>
            <a:ext cx="2018917" cy="884858"/>
          </a:xfrm>
          <a:prstGeom prst="rect">
            <a:avLst/>
          </a:prstGeom>
          <a:noFill/>
        </p:spPr>
        <p:txBody>
          <a:bodyPr wrap="square">
            <a:spAutoFit/>
          </a:bodyPr>
          <a:lstStyle/>
          <a:p>
            <a:pPr marL="33020" marR="0" lvl="0" indent="0" algn="ctr" defTabSz="914400" eaLnBrk="1" fontAlgn="auto" latinLnBrk="0" hangingPunct="1">
              <a:lnSpc>
                <a:spcPct val="100000"/>
              </a:lnSpc>
              <a:spcBef>
                <a:spcPts val="855"/>
              </a:spcBef>
              <a:spcAft>
                <a:spcPts val="0"/>
              </a:spcAft>
              <a:buClrTx/>
              <a:buSzTx/>
              <a:buFontTx/>
              <a:buNone/>
              <a:tabLst/>
              <a:defRPr/>
            </a:pPr>
            <a:r>
              <a:rPr kumimoji="0" lang="en-US" altLang="ja-JP" sz="2000" b="1" i="0" u="none" strike="noStrike" kern="0" cap="none" spc="-14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2050</a:t>
            </a:r>
            <a:r>
              <a:rPr kumimoji="0" lang="ja-JP" altLang="en-US" sz="2000" b="1" i="0" u="none" strike="noStrike" kern="0" cap="none" spc="-5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年</a:t>
            </a:r>
            <a:endParaRPr kumimoji="0" lang="ja-JP" altLang="en-US" sz="2000" b="0" i="0" u="none" strike="noStrike" kern="0" cap="none" spc="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a:p>
            <a:pPr marL="33020" marR="0" lvl="0" indent="0" algn="ctr" defTabSz="914400" rtl="0" eaLnBrk="1" fontAlgn="auto" latinLnBrk="0" hangingPunct="1">
              <a:lnSpc>
                <a:spcPct val="100000"/>
              </a:lnSpc>
              <a:spcBef>
                <a:spcPts val="855"/>
              </a:spcBef>
              <a:spcAft>
                <a:spcPts val="0"/>
              </a:spcAft>
              <a:buClrTx/>
              <a:buSzTx/>
              <a:buFontTx/>
              <a:buNone/>
              <a:tabLst/>
              <a:defRPr/>
            </a:pPr>
            <a:r>
              <a:rPr kumimoji="1" lang="ja-JP" altLang="en-US" sz="1200" b="1" i="0" u="none" strike="noStrike" kern="1200" cap="none" spc="-8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グループ全体での</a:t>
            </a:r>
            <a:endParaRPr kumimoji="1" lang="ja-JP" altLang="en-US" sz="1200" b="0" i="0" u="none" strike="noStrike" kern="1200" cap="none" spc="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a:p>
            <a:pPr marL="33020" marR="508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229"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ネットゼロ・エミッション</a:t>
            </a:r>
            <a:endParaRPr kumimoji="1" lang="ja-JP" altLang="en-US" sz="1200" b="0" i="0" u="none" strike="noStrike" kern="1200" cap="none" spc="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p:txBody>
      </p:sp>
      <p:sp>
        <p:nvSpPr>
          <p:cNvPr id="91" name="フリーフォーム: 図形 90">
            <a:extLst>
              <a:ext uri="{FF2B5EF4-FFF2-40B4-BE49-F238E27FC236}">
                <a16:creationId xmlns:a16="http://schemas.microsoft.com/office/drawing/2014/main" id="{915B5B49-7D10-4C48-A8AE-C40F5ABD609D}"/>
              </a:ext>
            </a:extLst>
          </p:cNvPr>
          <p:cNvSpPr/>
          <p:nvPr/>
        </p:nvSpPr>
        <p:spPr>
          <a:xfrm>
            <a:off x="1264674" y="1699698"/>
            <a:ext cx="8469197" cy="282806"/>
          </a:xfrm>
          <a:custGeom>
            <a:avLst/>
            <a:gdLst>
              <a:gd name="connsiteX0" fmla="*/ 0 w 8691824"/>
              <a:gd name="connsiteY0" fmla="*/ 380985 h 380985"/>
              <a:gd name="connsiteX1" fmla="*/ 3135086 w 8691824"/>
              <a:gd name="connsiteY1" fmla="*/ 29292 h 380985"/>
              <a:gd name="connsiteX2" fmla="*/ 6511332 w 8691824"/>
              <a:gd name="connsiteY2" fmla="*/ 29292 h 380985"/>
              <a:gd name="connsiteX3" fmla="*/ 8691824 w 8691824"/>
              <a:gd name="connsiteY3" fmla="*/ 109679 h 380985"/>
              <a:gd name="connsiteX0" fmla="*/ 0 w 8691824"/>
              <a:gd name="connsiteY0" fmla="*/ 262390 h 262390"/>
              <a:gd name="connsiteX1" fmla="*/ 3135086 w 8691824"/>
              <a:gd name="connsiteY1" fmla="*/ 21229 h 262390"/>
              <a:gd name="connsiteX2" fmla="*/ 6511332 w 8691824"/>
              <a:gd name="connsiteY2" fmla="*/ 21229 h 262390"/>
              <a:gd name="connsiteX3" fmla="*/ 8691824 w 8691824"/>
              <a:gd name="connsiteY3" fmla="*/ 101616 h 262390"/>
              <a:gd name="connsiteX0" fmla="*/ 0 w 8691824"/>
              <a:gd name="connsiteY0" fmla="*/ 244946 h 244946"/>
              <a:gd name="connsiteX1" fmla="*/ 3135086 w 8691824"/>
              <a:gd name="connsiteY1" fmla="*/ 54027 h 244946"/>
              <a:gd name="connsiteX2" fmla="*/ 6511332 w 8691824"/>
              <a:gd name="connsiteY2" fmla="*/ 3785 h 244946"/>
              <a:gd name="connsiteX3" fmla="*/ 8691824 w 8691824"/>
              <a:gd name="connsiteY3" fmla="*/ 84172 h 244946"/>
              <a:gd name="connsiteX0" fmla="*/ 0 w 8691824"/>
              <a:gd name="connsiteY0" fmla="*/ 244162 h 244162"/>
              <a:gd name="connsiteX1" fmla="*/ 3135086 w 8691824"/>
              <a:gd name="connsiteY1" fmla="*/ 63291 h 244162"/>
              <a:gd name="connsiteX2" fmla="*/ 6511332 w 8691824"/>
              <a:gd name="connsiteY2" fmla="*/ 3001 h 244162"/>
              <a:gd name="connsiteX3" fmla="*/ 8691824 w 8691824"/>
              <a:gd name="connsiteY3" fmla="*/ 83388 h 244162"/>
              <a:gd name="connsiteX0" fmla="*/ 0 w 8691824"/>
              <a:gd name="connsiteY0" fmla="*/ 197765 h 197765"/>
              <a:gd name="connsiteX1" fmla="*/ 3135086 w 8691824"/>
              <a:gd name="connsiteY1" fmla="*/ 16894 h 197765"/>
              <a:gd name="connsiteX2" fmla="*/ 6511332 w 8691824"/>
              <a:gd name="connsiteY2" fmla="*/ 16894 h 197765"/>
              <a:gd name="connsiteX3" fmla="*/ 8691824 w 8691824"/>
              <a:gd name="connsiteY3" fmla="*/ 36991 h 197765"/>
              <a:gd name="connsiteX0" fmla="*/ 0 w 8611437"/>
              <a:gd name="connsiteY0" fmla="*/ 197765 h 197765"/>
              <a:gd name="connsiteX1" fmla="*/ 3135086 w 8611437"/>
              <a:gd name="connsiteY1" fmla="*/ 16894 h 197765"/>
              <a:gd name="connsiteX2" fmla="*/ 6511332 w 8611437"/>
              <a:gd name="connsiteY2" fmla="*/ 16894 h 197765"/>
              <a:gd name="connsiteX3" fmla="*/ 8611437 w 8611437"/>
              <a:gd name="connsiteY3" fmla="*/ 47039 h 197765"/>
              <a:gd name="connsiteX0" fmla="*/ 0 w 8611437"/>
              <a:gd name="connsiteY0" fmla="*/ 197765 h 197765"/>
              <a:gd name="connsiteX1" fmla="*/ 3135086 w 8611437"/>
              <a:gd name="connsiteY1" fmla="*/ 16894 h 197765"/>
              <a:gd name="connsiteX2" fmla="*/ 6511332 w 8611437"/>
              <a:gd name="connsiteY2" fmla="*/ 16894 h 197765"/>
              <a:gd name="connsiteX3" fmla="*/ 8611437 w 8611437"/>
              <a:gd name="connsiteY3" fmla="*/ 47039 h 197765"/>
              <a:gd name="connsiteX0" fmla="*/ 0 w 8611437"/>
              <a:gd name="connsiteY0" fmla="*/ 183873 h 183873"/>
              <a:gd name="connsiteX1" fmla="*/ 3135086 w 8611437"/>
              <a:gd name="connsiteY1" fmla="*/ 53802 h 183873"/>
              <a:gd name="connsiteX2" fmla="*/ 6511332 w 8611437"/>
              <a:gd name="connsiteY2" fmla="*/ 3002 h 183873"/>
              <a:gd name="connsiteX3" fmla="*/ 8611437 w 8611437"/>
              <a:gd name="connsiteY3" fmla="*/ 33147 h 183873"/>
              <a:gd name="connsiteX0" fmla="*/ 0 w 8611437"/>
              <a:gd name="connsiteY0" fmla="*/ 156665 h 156665"/>
              <a:gd name="connsiteX1" fmla="*/ 3135086 w 8611437"/>
              <a:gd name="connsiteY1" fmla="*/ 26594 h 156665"/>
              <a:gd name="connsiteX2" fmla="*/ 6511332 w 8611437"/>
              <a:gd name="connsiteY2" fmla="*/ 6274 h 156665"/>
              <a:gd name="connsiteX3" fmla="*/ 8611437 w 8611437"/>
              <a:gd name="connsiteY3" fmla="*/ 5939 h 156665"/>
              <a:gd name="connsiteX0" fmla="*/ 0 w 8611437"/>
              <a:gd name="connsiteY0" fmla="*/ 150726 h 150726"/>
              <a:gd name="connsiteX1" fmla="*/ 3135086 w 8611437"/>
              <a:gd name="connsiteY1" fmla="*/ 20655 h 150726"/>
              <a:gd name="connsiteX2" fmla="*/ 6511332 w 8611437"/>
              <a:gd name="connsiteY2" fmla="*/ 335 h 150726"/>
              <a:gd name="connsiteX3" fmla="*/ 8611437 w 8611437"/>
              <a:gd name="connsiteY3" fmla="*/ 0 h 150726"/>
              <a:gd name="connsiteX0" fmla="*/ 0 w 8611437"/>
              <a:gd name="connsiteY0" fmla="*/ 150726 h 150726"/>
              <a:gd name="connsiteX1" fmla="*/ 3135086 w 8611437"/>
              <a:gd name="connsiteY1" fmla="*/ 20655 h 150726"/>
              <a:gd name="connsiteX2" fmla="*/ 6511332 w 8611437"/>
              <a:gd name="connsiteY2" fmla="*/ 335 h 150726"/>
              <a:gd name="connsiteX3" fmla="*/ 8611437 w 8611437"/>
              <a:gd name="connsiteY3" fmla="*/ 0 h 150726"/>
              <a:gd name="connsiteX0" fmla="*/ 0 w 8611437"/>
              <a:gd name="connsiteY0" fmla="*/ 154995 h 154995"/>
              <a:gd name="connsiteX1" fmla="*/ 3135086 w 8611437"/>
              <a:gd name="connsiteY1" fmla="*/ 24924 h 154995"/>
              <a:gd name="connsiteX2" fmla="*/ 6511332 w 8611437"/>
              <a:gd name="connsiteY2" fmla="*/ 4604 h 154995"/>
              <a:gd name="connsiteX3" fmla="*/ 8611437 w 8611437"/>
              <a:gd name="connsiteY3" fmla="*/ 4269 h 154995"/>
              <a:gd name="connsiteX0" fmla="*/ 0 w 8611437"/>
              <a:gd name="connsiteY0" fmla="*/ 150726 h 150726"/>
              <a:gd name="connsiteX1" fmla="*/ 3155406 w 8611437"/>
              <a:gd name="connsiteY1" fmla="*/ 61295 h 150726"/>
              <a:gd name="connsiteX2" fmla="*/ 6511332 w 8611437"/>
              <a:gd name="connsiteY2" fmla="*/ 335 h 150726"/>
              <a:gd name="connsiteX3" fmla="*/ 8611437 w 8611437"/>
              <a:gd name="connsiteY3" fmla="*/ 0 h 150726"/>
              <a:gd name="connsiteX0" fmla="*/ 0 w 8631757"/>
              <a:gd name="connsiteY0" fmla="*/ 303126 h 303126"/>
              <a:gd name="connsiteX1" fmla="*/ 3175726 w 8631757"/>
              <a:gd name="connsiteY1" fmla="*/ 61295 h 303126"/>
              <a:gd name="connsiteX2" fmla="*/ 6531652 w 8631757"/>
              <a:gd name="connsiteY2" fmla="*/ 335 h 303126"/>
              <a:gd name="connsiteX3" fmla="*/ 8631757 w 8631757"/>
              <a:gd name="connsiteY3" fmla="*/ 0 h 303126"/>
              <a:gd name="connsiteX0" fmla="*/ 0 w 8631757"/>
              <a:gd name="connsiteY0" fmla="*/ 303126 h 303126"/>
              <a:gd name="connsiteX1" fmla="*/ 3175726 w 8631757"/>
              <a:gd name="connsiteY1" fmla="*/ 173055 h 303126"/>
              <a:gd name="connsiteX2" fmla="*/ 6531652 w 8631757"/>
              <a:gd name="connsiteY2" fmla="*/ 335 h 303126"/>
              <a:gd name="connsiteX3" fmla="*/ 8631757 w 8631757"/>
              <a:gd name="connsiteY3" fmla="*/ 0 h 303126"/>
              <a:gd name="connsiteX0" fmla="*/ 0 w 8631757"/>
              <a:gd name="connsiteY0" fmla="*/ 303126 h 303126"/>
              <a:gd name="connsiteX1" fmla="*/ 3175726 w 8631757"/>
              <a:gd name="connsiteY1" fmla="*/ 173055 h 303126"/>
              <a:gd name="connsiteX2" fmla="*/ 6531652 w 8631757"/>
              <a:gd name="connsiteY2" fmla="*/ 81615 h 303126"/>
              <a:gd name="connsiteX3" fmla="*/ 8631757 w 8631757"/>
              <a:gd name="connsiteY3" fmla="*/ 0 h 303126"/>
              <a:gd name="connsiteX0" fmla="*/ 0 w 8631757"/>
              <a:gd name="connsiteY0" fmla="*/ 303126 h 303126"/>
              <a:gd name="connsiteX1" fmla="*/ 3175726 w 8631757"/>
              <a:gd name="connsiteY1" fmla="*/ 173055 h 303126"/>
              <a:gd name="connsiteX2" fmla="*/ 6531652 w 8631757"/>
              <a:gd name="connsiteY2" fmla="*/ 91775 h 303126"/>
              <a:gd name="connsiteX3" fmla="*/ 8631757 w 8631757"/>
              <a:gd name="connsiteY3" fmla="*/ 0 h 303126"/>
              <a:gd name="connsiteX0" fmla="*/ 0 w 8631757"/>
              <a:gd name="connsiteY0" fmla="*/ 272646 h 272646"/>
              <a:gd name="connsiteX1" fmla="*/ 3175726 w 8631757"/>
              <a:gd name="connsiteY1" fmla="*/ 142575 h 272646"/>
              <a:gd name="connsiteX2" fmla="*/ 6531652 w 8631757"/>
              <a:gd name="connsiteY2" fmla="*/ 61295 h 272646"/>
              <a:gd name="connsiteX3" fmla="*/ 8631757 w 8631757"/>
              <a:gd name="connsiteY3" fmla="*/ 0 h 272646"/>
              <a:gd name="connsiteX0" fmla="*/ 0 w 8469197"/>
              <a:gd name="connsiteY0" fmla="*/ 282806 h 282806"/>
              <a:gd name="connsiteX1" fmla="*/ 3175726 w 8469197"/>
              <a:gd name="connsiteY1" fmla="*/ 152735 h 282806"/>
              <a:gd name="connsiteX2" fmla="*/ 6531652 w 8469197"/>
              <a:gd name="connsiteY2" fmla="*/ 71455 h 282806"/>
              <a:gd name="connsiteX3" fmla="*/ 8469197 w 8469197"/>
              <a:gd name="connsiteY3" fmla="*/ 0 h 282806"/>
            </a:gdLst>
            <a:ahLst/>
            <a:cxnLst>
              <a:cxn ang="0">
                <a:pos x="connsiteX0" y="connsiteY0"/>
              </a:cxn>
              <a:cxn ang="0">
                <a:pos x="connsiteX1" y="connsiteY1"/>
              </a:cxn>
              <a:cxn ang="0">
                <a:pos x="connsiteX2" y="connsiteY2"/>
              </a:cxn>
              <a:cxn ang="0">
                <a:pos x="connsiteX3" y="connsiteY3"/>
              </a:cxn>
            </a:cxnLst>
            <a:rect l="l" t="t" r="r" b="b"/>
            <a:pathLst>
              <a:path w="8469197" h="282806">
                <a:moveTo>
                  <a:pt x="0" y="282806"/>
                </a:moveTo>
                <a:cubicBezTo>
                  <a:pt x="1024932" y="268347"/>
                  <a:pt x="2087117" y="187960"/>
                  <a:pt x="3175726" y="152735"/>
                </a:cubicBezTo>
                <a:lnTo>
                  <a:pt x="6531652" y="71455"/>
                </a:lnTo>
                <a:lnTo>
                  <a:pt x="8469197" y="0"/>
                </a:lnTo>
              </a:path>
            </a:pathLst>
          </a:custGeom>
          <a:noFill/>
          <a:ln w="95250">
            <a:solidFill>
              <a:srgbClr val="00A69A">
                <a:alpha val="27000"/>
              </a:srgbClr>
            </a:solidFill>
            <a:headEnd type="none"/>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92" name="フリーフォーム: 図形 91">
            <a:extLst>
              <a:ext uri="{FF2B5EF4-FFF2-40B4-BE49-F238E27FC236}">
                <a16:creationId xmlns:a16="http://schemas.microsoft.com/office/drawing/2014/main" id="{61869A1A-2388-4F86-B2CD-1A9FB843074F}"/>
              </a:ext>
            </a:extLst>
          </p:cNvPr>
          <p:cNvSpPr/>
          <p:nvPr/>
        </p:nvSpPr>
        <p:spPr>
          <a:xfrm>
            <a:off x="1326671" y="2130693"/>
            <a:ext cx="8591117" cy="676143"/>
          </a:xfrm>
          <a:custGeom>
            <a:avLst/>
            <a:gdLst>
              <a:gd name="connsiteX0" fmla="*/ 0 w 8651630"/>
              <a:gd name="connsiteY0" fmla="*/ 321547 h 321547"/>
              <a:gd name="connsiteX1" fmla="*/ 3516923 w 8651630"/>
              <a:gd name="connsiteY1" fmla="*/ 110532 h 321547"/>
              <a:gd name="connsiteX2" fmla="*/ 6913265 w 8651630"/>
              <a:gd name="connsiteY2" fmla="*/ 90435 h 321547"/>
              <a:gd name="connsiteX3" fmla="*/ 8651630 w 8651630"/>
              <a:gd name="connsiteY3" fmla="*/ 0 h 321547"/>
              <a:gd name="connsiteX0" fmla="*/ 0 w 8611437"/>
              <a:gd name="connsiteY0" fmla="*/ 411983 h 411983"/>
              <a:gd name="connsiteX1" fmla="*/ 3516923 w 8611437"/>
              <a:gd name="connsiteY1" fmla="*/ 200968 h 411983"/>
              <a:gd name="connsiteX2" fmla="*/ 6913265 w 8611437"/>
              <a:gd name="connsiteY2" fmla="*/ 180871 h 411983"/>
              <a:gd name="connsiteX3" fmla="*/ 8611437 w 8611437"/>
              <a:gd name="connsiteY3" fmla="*/ 0 h 411983"/>
              <a:gd name="connsiteX0" fmla="*/ 0 w 8611437"/>
              <a:gd name="connsiteY0" fmla="*/ 411983 h 411983"/>
              <a:gd name="connsiteX1" fmla="*/ 3516923 w 8611437"/>
              <a:gd name="connsiteY1" fmla="*/ 200968 h 411983"/>
              <a:gd name="connsiteX2" fmla="*/ 6772588 w 8611437"/>
              <a:gd name="connsiteY2" fmla="*/ 110533 h 411983"/>
              <a:gd name="connsiteX3" fmla="*/ 8611437 w 8611437"/>
              <a:gd name="connsiteY3" fmla="*/ 0 h 411983"/>
              <a:gd name="connsiteX0" fmla="*/ 0 w 8611437"/>
              <a:gd name="connsiteY0" fmla="*/ 411983 h 411983"/>
              <a:gd name="connsiteX1" fmla="*/ 3516923 w 8611437"/>
              <a:gd name="connsiteY1" fmla="*/ 170823 h 411983"/>
              <a:gd name="connsiteX2" fmla="*/ 6772588 w 8611437"/>
              <a:gd name="connsiteY2" fmla="*/ 110533 h 411983"/>
              <a:gd name="connsiteX3" fmla="*/ 8611437 w 8611437"/>
              <a:gd name="connsiteY3" fmla="*/ 0 h 411983"/>
              <a:gd name="connsiteX0" fmla="*/ 0 w 8611437"/>
              <a:gd name="connsiteY0" fmla="*/ 411983 h 411983"/>
              <a:gd name="connsiteX1" fmla="*/ 3516923 w 8611437"/>
              <a:gd name="connsiteY1" fmla="*/ 170823 h 411983"/>
              <a:gd name="connsiteX2" fmla="*/ 6772588 w 8611437"/>
              <a:gd name="connsiteY2" fmla="*/ 80388 h 411983"/>
              <a:gd name="connsiteX3" fmla="*/ 8611437 w 8611437"/>
              <a:gd name="connsiteY3" fmla="*/ 0 h 411983"/>
              <a:gd name="connsiteX0" fmla="*/ 0 w 8611437"/>
              <a:gd name="connsiteY0" fmla="*/ 411983 h 411983"/>
              <a:gd name="connsiteX1" fmla="*/ 3516923 w 8611437"/>
              <a:gd name="connsiteY1" fmla="*/ 241162 h 411983"/>
              <a:gd name="connsiteX2" fmla="*/ 6772588 w 8611437"/>
              <a:gd name="connsiteY2" fmla="*/ 80388 h 411983"/>
              <a:gd name="connsiteX3" fmla="*/ 8611437 w 8611437"/>
              <a:gd name="connsiteY3" fmla="*/ 0 h 411983"/>
              <a:gd name="connsiteX0" fmla="*/ 0 w 8611437"/>
              <a:gd name="connsiteY0" fmla="*/ 411983 h 411983"/>
              <a:gd name="connsiteX1" fmla="*/ 3516923 w 8611437"/>
              <a:gd name="connsiteY1" fmla="*/ 281355 h 411983"/>
              <a:gd name="connsiteX2" fmla="*/ 6772588 w 8611437"/>
              <a:gd name="connsiteY2" fmla="*/ 80388 h 411983"/>
              <a:gd name="connsiteX3" fmla="*/ 8611437 w 8611437"/>
              <a:gd name="connsiteY3" fmla="*/ 0 h 411983"/>
              <a:gd name="connsiteX0" fmla="*/ 0 w 8611437"/>
              <a:gd name="connsiteY0" fmla="*/ 411983 h 411983"/>
              <a:gd name="connsiteX1" fmla="*/ 3516923 w 8611437"/>
              <a:gd name="connsiteY1" fmla="*/ 281355 h 411983"/>
              <a:gd name="connsiteX2" fmla="*/ 6772588 w 8611437"/>
              <a:gd name="connsiteY2" fmla="*/ 160775 h 411983"/>
              <a:gd name="connsiteX3" fmla="*/ 8611437 w 8611437"/>
              <a:gd name="connsiteY3" fmla="*/ 0 h 411983"/>
              <a:gd name="connsiteX0" fmla="*/ 0 w 8611437"/>
              <a:gd name="connsiteY0" fmla="*/ 411983 h 411983"/>
              <a:gd name="connsiteX1" fmla="*/ 3516923 w 8611437"/>
              <a:gd name="connsiteY1" fmla="*/ 281355 h 411983"/>
              <a:gd name="connsiteX2" fmla="*/ 6772588 w 8611437"/>
              <a:gd name="connsiteY2" fmla="*/ 160775 h 411983"/>
              <a:gd name="connsiteX3" fmla="*/ 8611437 w 8611437"/>
              <a:gd name="connsiteY3" fmla="*/ 0 h 411983"/>
              <a:gd name="connsiteX0" fmla="*/ 0 w 8611437"/>
              <a:gd name="connsiteY0" fmla="*/ 411983 h 411983"/>
              <a:gd name="connsiteX1" fmla="*/ 3516923 w 8611437"/>
              <a:gd name="connsiteY1" fmla="*/ 281355 h 411983"/>
              <a:gd name="connsiteX2" fmla="*/ 6772588 w 8611437"/>
              <a:gd name="connsiteY2" fmla="*/ 160775 h 411983"/>
              <a:gd name="connsiteX3" fmla="*/ 8611437 w 8611437"/>
              <a:gd name="connsiteY3" fmla="*/ 0 h 411983"/>
              <a:gd name="connsiteX0" fmla="*/ 0 w 8631757"/>
              <a:gd name="connsiteY0" fmla="*/ 493263 h 493263"/>
              <a:gd name="connsiteX1" fmla="*/ 3537243 w 8631757"/>
              <a:gd name="connsiteY1" fmla="*/ 281355 h 493263"/>
              <a:gd name="connsiteX2" fmla="*/ 6792908 w 8631757"/>
              <a:gd name="connsiteY2" fmla="*/ 160775 h 493263"/>
              <a:gd name="connsiteX3" fmla="*/ 8631757 w 8631757"/>
              <a:gd name="connsiteY3" fmla="*/ 0 h 493263"/>
              <a:gd name="connsiteX0" fmla="*/ 0 w 8631757"/>
              <a:gd name="connsiteY0" fmla="*/ 493263 h 493263"/>
              <a:gd name="connsiteX1" fmla="*/ 3527083 w 8631757"/>
              <a:gd name="connsiteY1" fmla="*/ 362635 h 493263"/>
              <a:gd name="connsiteX2" fmla="*/ 6792908 w 8631757"/>
              <a:gd name="connsiteY2" fmla="*/ 160775 h 493263"/>
              <a:gd name="connsiteX3" fmla="*/ 8631757 w 8631757"/>
              <a:gd name="connsiteY3" fmla="*/ 0 h 493263"/>
              <a:gd name="connsiteX0" fmla="*/ 0 w 8631757"/>
              <a:gd name="connsiteY0" fmla="*/ 493263 h 493263"/>
              <a:gd name="connsiteX1" fmla="*/ 3527083 w 8631757"/>
              <a:gd name="connsiteY1" fmla="*/ 362635 h 493263"/>
              <a:gd name="connsiteX2" fmla="*/ 6792908 w 8631757"/>
              <a:gd name="connsiteY2" fmla="*/ 160775 h 493263"/>
              <a:gd name="connsiteX3" fmla="*/ 8631757 w 8631757"/>
              <a:gd name="connsiteY3" fmla="*/ 0 h 493263"/>
              <a:gd name="connsiteX0" fmla="*/ 0 w 8631757"/>
              <a:gd name="connsiteY0" fmla="*/ 493263 h 493263"/>
              <a:gd name="connsiteX1" fmla="*/ 3527083 w 8631757"/>
              <a:gd name="connsiteY1" fmla="*/ 342315 h 493263"/>
              <a:gd name="connsiteX2" fmla="*/ 6792908 w 8631757"/>
              <a:gd name="connsiteY2" fmla="*/ 160775 h 493263"/>
              <a:gd name="connsiteX3" fmla="*/ 8631757 w 8631757"/>
              <a:gd name="connsiteY3" fmla="*/ 0 h 493263"/>
              <a:gd name="connsiteX0" fmla="*/ 0 w 8682557"/>
              <a:gd name="connsiteY0" fmla="*/ 584703 h 584703"/>
              <a:gd name="connsiteX1" fmla="*/ 3577883 w 8682557"/>
              <a:gd name="connsiteY1" fmla="*/ 342315 h 584703"/>
              <a:gd name="connsiteX2" fmla="*/ 6843708 w 8682557"/>
              <a:gd name="connsiteY2" fmla="*/ 160775 h 584703"/>
              <a:gd name="connsiteX3" fmla="*/ 8682557 w 8682557"/>
              <a:gd name="connsiteY3" fmla="*/ 0 h 584703"/>
              <a:gd name="connsiteX0" fmla="*/ 0 w 8682557"/>
              <a:gd name="connsiteY0" fmla="*/ 584703 h 584703"/>
              <a:gd name="connsiteX1" fmla="*/ 3567723 w 8682557"/>
              <a:gd name="connsiteY1" fmla="*/ 393115 h 584703"/>
              <a:gd name="connsiteX2" fmla="*/ 6843708 w 8682557"/>
              <a:gd name="connsiteY2" fmla="*/ 160775 h 584703"/>
              <a:gd name="connsiteX3" fmla="*/ 8682557 w 8682557"/>
              <a:gd name="connsiteY3" fmla="*/ 0 h 584703"/>
              <a:gd name="connsiteX0" fmla="*/ 0 w 8682557"/>
              <a:gd name="connsiteY0" fmla="*/ 584703 h 584703"/>
              <a:gd name="connsiteX1" fmla="*/ 3567723 w 8682557"/>
              <a:gd name="connsiteY1" fmla="*/ 393115 h 584703"/>
              <a:gd name="connsiteX2" fmla="*/ 6823388 w 8682557"/>
              <a:gd name="connsiteY2" fmla="*/ 201415 h 584703"/>
              <a:gd name="connsiteX3" fmla="*/ 8682557 w 8682557"/>
              <a:gd name="connsiteY3" fmla="*/ 0 h 584703"/>
              <a:gd name="connsiteX0" fmla="*/ 0 w 8682557"/>
              <a:gd name="connsiteY0" fmla="*/ 584703 h 584703"/>
              <a:gd name="connsiteX1" fmla="*/ 3567723 w 8682557"/>
              <a:gd name="connsiteY1" fmla="*/ 393115 h 584703"/>
              <a:gd name="connsiteX2" fmla="*/ 6823388 w 8682557"/>
              <a:gd name="connsiteY2" fmla="*/ 201415 h 584703"/>
              <a:gd name="connsiteX3" fmla="*/ 8682557 w 8682557"/>
              <a:gd name="connsiteY3" fmla="*/ 0 h 584703"/>
              <a:gd name="connsiteX0" fmla="*/ 0 w 8682557"/>
              <a:gd name="connsiteY0" fmla="*/ 645663 h 645663"/>
              <a:gd name="connsiteX1" fmla="*/ 3567723 w 8682557"/>
              <a:gd name="connsiteY1" fmla="*/ 454075 h 645663"/>
              <a:gd name="connsiteX2" fmla="*/ 6823388 w 8682557"/>
              <a:gd name="connsiteY2" fmla="*/ 262375 h 645663"/>
              <a:gd name="connsiteX3" fmla="*/ 8682557 w 8682557"/>
              <a:gd name="connsiteY3" fmla="*/ 0 h 645663"/>
              <a:gd name="connsiteX0" fmla="*/ 0 w 8662237"/>
              <a:gd name="connsiteY0" fmla="*/ 665983 h 665983"/>
              <a:gd name="connsiteX1" fmla="*/ 3567723 w 8662237"/>
              <a:gd name="connsiteY1" fmla="*/ 474395 h 665983"/>
              <a:gd name="connsiteX2" fmla="*/ 6823388 w 8662237"/>
              <a:gd name="connsiteY2" fmla="*/ 282695 h 665983"/>
              <a:gd name="connsiteX3" fmla="*/ 8662237 w 8662237"/>
              <a:gd name="connsiteY3" fmla="*/ 0 h 665983"/>
              <a:gd name="connsiteX0" fmla="*/ 0 w 8662237"/>
              <a:gd name="connsiteY0" fmla="*/ 665983 h 665983"/>
              <a:gd name="connsiteX1" fmla="*/ 3567723 w 8662237"/>
              <a:gd name="connsiteY1" fmla="*/ 474395 h 665983"/>
              <a:gd name="connsiteX2" fmla="*/ 6823388 w 8662237"/>
              <a:gd name="connsiteY2" fmla="*/ 282695 h 665983"/>
              <a:gd name="connsiteX3" fmla="*/ 8662237 w 8662237"/>
              <a:gd name="connsiteY3" fmla="*/ 0 h 665983"/>
              <a:gd name="connsiteX0" fmla="*/ 0 w 8662237"/>
              <a:gd name="connsiteY0" fmla="*/ 665983 h 665983"/>
              <a:gd name="connsiteX1" fmla="*/ 3567723 w 8662237"/>
              <a:gd name="connsiteY1" fmla="*/ 474395 h 665983"/>
              <a:gd name="connsiteX2" fmla="*/ 6823388 w 8662237"/>
              <a:gd name="connsiteY2" fmla="*/ 282695 h 665983"/>
              <a:gd name="connsiteX3" fmla="*/ 8662237 w 8662237"/>
              <a:gd name="connsiteY3" fmla="*/ 0 h 665983"/>
              <a:gd name="connsiteX0" fmla="*/ 0 w 8662237"/>
              <a:gd name="connsiteY0" fmla="*/ 665983 h 665983"/>
              <a:gd name="connsiteX1" fmla="*/ 3567723 w 8662237"/>
              <a:gd name="connsiteY1" fmla="*/ 474395 h 665983"/>
              <a:gd name="connsiteX2" fmla="*/ 6792908 w 8662237"/>
              <a:gd name="connsiteY2" fmla="*/ 252215 h 665983"/>
              <a:gd name="connsiteX3" fmla="*/ 8662237 w 8662237"/>
              <a:gd name="connsiteY3" fmla="*/ 0 h 665983"/>
              <a:gd name="connsiteX0" fmla="*/ 0 w 8662237"/>
              <a:gd name="connsiteY0" fmla="*/ 665983 h 665983"/>
              <a:gd name="connsiteX1" fmla="*/ 3567723 w 8662237"/>
              <a:gd name="connsiteY1" fmla="*/ 474395 h 665983"/>
              <a:gd name="connsiteX2" fmla="*/ 6538908 w 8662237"/>
              <a:gd name="connsiteY2" fmla="*/ 272535 h 665983"/>
              <a:gd name="connsiteX3" fmla="*/ 8662237 w 8662237"/>
              <a:gd name="connsiteY3" fmla="*/ 0 h 665983"/>
              <a:gd name="connsiteX0" fmla="*/ 0 w 8662237"/>
              <a:gd name="connsiteY0" fmla="*/ 665983 h 665983"/>
              <a:gd name="connsiteX1" fmla="*/ 3567723 w 8662237"/>
              <a:gd name="connsiteY1" fmla="*/ 474395 h 665983"/>
              <a:gd name="connsiteX2" fmla="*/ 6498268 w 8662237"/>
              <a:gd name="connsiteY2" fmla="*/ 242055 h 665983"/>
              <a:gd name="connsiteX3" fmla="*/ 8662237 w 8662237"/>
              <a:gd name="connsiteY3" fmla="*/ 0 h 665983"/>
              <a:gd name="connsiteX0" fmla="*/ 0 w 8611437"/>
              <a:gd name="connsiteY0" fmla="*/ 645663 h 645663"/>
              <a:gd name="connsiteX1" fmla="*/ 3567723 w 8611437"/>
              <a:gd name="connsiteY1" fmla="*/ 454075 h 645663"/>
              <a:gd name="connsiteX2" fmla="*/ 6498268 w 8611437"/>
              <a:gd name="connsiteY2" fmla="*/ 221735 h 645663"/>
              <a:gd name="connsiteX3" fmla="*/ 8611437 w 8611437"/>
              <a:gd name="connsiteY3" fmla="*/ 0 h 645663"/>
              <a:gd name="connsiteX0" fmla="*/ 0 w 8591117"/>
              <a:gd name="connsiteY0" fmla="*/ 676143 h 676143"/>
              <a:gd name="connsiteX1" fmla="*/ 3567723 w 8591117"/>
              <a:gd name="connsiteY1" fmla="*/ 484555 h 676143"/>
              <a:gd name="connsiteX2" fmla="*/ 6498268 w 8591117"/>
              <a:gd name="connsiteY2" fmla="*/ 252215 h 676143"/>
              <a:gd name="connsiteX3" fmla="*/ 8591117 w 8591117"/>
              <a:gd name="connsiteY3" fmla="*/ 0 h 676143"/>
              <a:gd name="connsiteX0" fmla="*/ 0 w 8591117"/>
              <a:gd name="connsiteY0" fmla="*/ 676143 h 676143"/>
              <a:gd name="connsiteX1" fmla="*/ 3567723 w 8591117"/>
              <a:gd name="connsiteY1" fmla="*/ 484555 h 676143"/>
              <a:gd name="connsiteX2" fmla="*/ 6498268 w 8591117"/>
              <a:gd name="connsiteY2" fmla="*/ 323335 h 676143"/>
              <a:gd name="connsiteX3" fmla="*/ 8591117 w 8591117"/>
              <a:gd name="connsiteY3" fmla="*/ 0 h 676143"/>
              <a:gd name="connsiteX0" fmla="*/ 0 w 8591117"/>
              <a:gd name="connsiteY0" fmla="*/ 676143 h 676143"/>
              <a:gd name="connsiteX1" fmla="*/ 3567723 w 8591117"/>
              <a:gd name="connsiteY1" fmla="*/ 484555 h 676143"/>
              <a:gd name="connsiteX2" fmla="*/ 6508428 w 8591117"/>
              <a:gd name="connsiteY2" fmla="*/ 313175 h 676143"/>
              <a:gd name="connsiteX3" fmla="*/ 8591117 w 8591117"/>
              <a:gd name="connsiteY3" fmla="*/ 0 h 676143"/>
              <a:gd name="connsiteX0" fmla="*/ 0 w 8591117"/>
              <a:gd name="connsiteY0" fmla="*/ 676143 h 676143"/>
              <a:gd name="connsiteX1" fmla="*/ 3557563 w 8591117"/>
              <a:gd name="connsiteY1" fmla="*/ 515035 h 676143"/>
              <a:gd name="connsiteX2" fmla="*/ 6508428 w 8591117"/>
              <a:gd name="connsiteY2" fmla="*/ 313175 h 676143"/>
              <a:gd name="connsiteX3" fmla="*/ 8591117 w 8591117"/>
              <a:gd name="connsiteY3" fmla="*/ 0 h 676143"/>
              <a:gd name="connsiteX0" fmla="*/ 0 w 8591117"/>
              <a:gd name="connsiteY0" fmla="*/ 676143 h 676143"/>
              <a:gd name="connsiteX1" fmla="*/ 3557563 w 8591117"/>
              <a:gd name="connsiteY1" fmla="*/ 515035 h 676143"/>
              <a:gd name="connsiteX2" fmla="*/ 6508428 w 8591117"/>
              <a:gd name="connsiteY2" fmla="*/ 292855 h 676143"/>
              <a:gd name="connsiteX3" fmla="*/ 8591117 w 8591117"/>
              <a:gd name="connsiteY3" fmla="*/ 0 h 676143"/>
              <a:gd name="connsiteX0" fmla="*/ 0 w 8591117"/>
              <a:gd name="connsiteY0" fmla="*/ 676143 h 676143"/>
              <a:gd name="connsiteX1" fmla="*/ 3557563 w 8591117"/>
              <a:gd name="connsiteY1" fmla="*/ 515035 h 676143"/>
              <a:gd name="connsiteX2" fmla="*/ 6508428 w 8591117"/>
              <a:gd name="connsiteY2" fmla="*/ 292855 h 676143"/>
              <a:gd name="connsiteX3" fmla="*/ 8591117 w 8591117"/>
              <a:gd name="connsiteY3" fmla="*/ 0 h 676143"/>
              <a:gd name="connsiteX0" fmla="*/ 0 w 8591117"/>
              <a:gd name="connsiteY0" fmla="*/ 676143 h 676143"/>
              <a:gd name="connsiteX1" fmla="*/ 3557563 w 8591117"/>
              <a:gd name="connsiteY1" fmla="*/ 545515 h 676143"/>
              <a:gd name="connsiteX2" fmla="*/ 6508428 w 8591117"/>
              <a:gd name="connsiteY2" fmla="*/ 292855 h 676143"/>
              <a:gd name="connsiteX3" fmla="*/ 8591117 w 8591117"/>
              <a:gd name="connsiteY3" fmla="*/ 0 h 676143"/>
              <a:gd name="connsiteX0" fmla="*/ 0 w 8591117"/>
              <a:gd name="connsiteY0" fmla="*/ 676143 h 676143"/>
              <a:gd name="connsiteX1" fmla="*/ 3557563 w 8591117"/>
              <a:gd name="connsiteY1" fmla="*/ 545515 h 676143"/>
              <a:gd name="connsiteX2" fmla="*/ 6518588 w 8591117"/>
              <a:gd name="connsiteY2" fmla="*/ 333495 h 676143"/>
              <a:gd name="connsiteX3" fmla="*/ 8591117 w 8591117"/>
              <a:gd name="connsiteY3" fmla="*/ 0 h 676143"/>
              <a:gd name="connsiteX0" fmla="*/ 0 w 8591117"/>
              <a:gd name="connsiteY0" fmla="*/ 676143 h 676143"/>
              <a:gd name="connsiteX1" fmla="*/ 3557563 w 8591117"/>
              <a:gd name="connsiteY1" fmla="*/ 545515 h 676143"/>
              <a:gd name="connsiteX2" fmla="*/ 6518588 w 8591117"/>
              <a:gd name="connsiteY2" fmla="*/ 333495 h 676143"/>
              <a:gd name="connsiteX3" fmla="*/ 8591117 w 8591117"/>
              <a:gd name="connsiteY3" fmla="*/ 0 h 676143"/>
            </a:gdLst>
            <a:ahLst/>
            <a:cxnLst>
              <a:cxn ang="0">
                <a:pos x="connsiteX0" y="connsiteY0"/>
              </a:cxn>
              <a:cxn ang="0">
                <a:pos x="connsiteX1" y="connsiteY1"/>
              </a:cxn>
              <a:cxn ang="0">
                <a:pos x="connsiteX2" y="connsiteY2"/>
              </a:cxn>
              <a:cxn ang="0">
                <a:pos x="connsiteX3" y="connsiteY3"/>
              </a:cxn>
            </a:cxnLst>
            <a:rect l="l" t="t" r="r" b="b"/>
            <a:pathLst>
              <a:path w="8591117" h="676143">
                <a:moveTo>
                  <a:pt x="0" y="676143"/>
                </a:moveTo>
                <a:lnTo>
                  <a:pt x="3557563" y="545515"/>
                </a:lnTo>
                <a:cubicBezTo>
                  <a:pt x="4733257" y="501972"/>
                  <a:pt x="5443414" y="434313"/>
                  <a:pt x="6518588" y="333495"/>
                </a:cubicBezTo>
                <a:cubicBezTo>
                  <a:pt x="7212818" y="256197"/>
                  <a:pt x="7866407" y="138258"/>
                  <a:pt x="8591117" y="0"/>
                </a:cubicBezTo>
              </a:path>
            </a:pathLst>
          </a:custGeom>
          <a:noFill/>
          <a:ln w="95250">
            <a:solidFill>
              <a:srgbClr val="00A69A">
                <a:alpha val="27000"/>
              </a:srgbClr>
            </a:solidFill>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93" name="フリーフォーム: 図形 92">
            <a:extLst>
              <a:ext uri="{FF2B5EF4-FFF2-40B4-BE49-F238E27FC236}">
                <a16:creationId xmlns:a16="http://schemas.microsoft.com/office/drawing/2014/main" id="{A90315EA-6239-4228-A01B-BFE2583761D9}"/>
              </a:ext>
            </a:extLst>
          </p:cNvPr>
          <p:cNvSpPr/>
          <p:nvPr/>
        </p:nvSpPr>
        <p:spPr>
          <a:xfrm>
            <a:off x="1344949" y="2551014"/>
            <a:ext cx="8831831" cy="1069145"/>
          </a:xfrm>
          <a:custGeom>
            <a:avLst/>
            <a:gdLst>
              <a:gd name="connsiteX0" fmla="*/ 0 w 8892791"/>
              <a:gd name="connsiteY0" fmla="*/ 532562 h 532562"/>
              <a:gd name="connsiteX1" fmla="*/ 3084844 w 8892791"/>
              <a:gd name="connsiteY1" fmla="*/ 361740 h 532562"/>
              <a:gd name="connsiteX2" fmla="*/ 6320413 w 8892791"/>
              <a:gd name="connsiteY2" fmla="*/ 341644 h 532562"/>
              <a:gd name="connsiteX3" fmla="*/ 8892791 w 8892791"/>
              <a:gd name="connsiteY3" fmla="*/ 0 h 532562"/>
              <a:gd name="connsiteX0" fmla="*/ 0 w 8892791"/>
              <a:gd name="connsiteY0" fmla="*/ 532562 h 532562"/>
              <a:gd name="connsiteX1" fmla="*/ 3084844 w 8892791"/>
              <a:gd name="connsiteY1" fmla="*/ 361740 h 532562"/>
              <a:gd name="connsiteX2" fmla="*/ 6310365 w 8892791"/>
              <a:gd name="connsiteY2" fmla="*/ 291403 h 532562"/>
              <a:gd name="connsiteX3" fmla="*/ 8892791 w 8892791"/>
              <a:gd name="connsiteY3" fmla="*/ 0 h 532562"/>
              <a:gd name="connsiteX0" fmla="*/ 0 w 8892791"/>
              <a:gd name="connsiteY0" fmla="*/ 532562 h 532562"/>
              <a:gd name="connsiteX1" fmla="*/ 3084844 w 8892791"/>
              <a:gd name="connsiteY1" fmla="*/ 361740 h 532562"/>
              <a:gd name="connsiteX2" fmla="*/ 6300317 w 8892791"/>
              <a:gd name="connsiteY2" fmla="*/ 241162 h 532562"/>
              <a:gd name="connsiteX3" fmla="*/ 8892791 w 8892791"/>
              <a:gd name="connsiteY3" fmla="*/ 0 h 532562"/>
              <a:gd name="connsiteX0" fmla="*/ 0 w 8892791"/>
              <a:gd name="connsiteY0" fmla="*/ 602901 h 602901"/>
              <a:gd name="connsiteX1" fmla="*/ 3084844 w 8892791"/>
              <a:gd name="connsiteY1" fmla="*/ 432079 h 602901"/>
              <a:gd name="connsiteX2" fmla="*/ 6300317 w 8892791"/>
              <a:gd name="connsiteY2" fmla="*/ 311501 h 602901"/>
              <a:gd name="connsiteX3" fmla="*/ 8892791 w 8892791"/>
              <a:gd name="connsiteY3" fmla="*/ 0 h 602901"/>
              <a:gd name="connsiteX0" fmla="*/ 0 w 8862646"/>
              <a:gd name="connsiteY0" fmla="*/ 602901 h 602901"/>
              <a:gd name="connsiteX1" fmla="*/ 3084844 w 8862646"/>
              <a:gd name="connsiteY1" fmla="*/ 432079 h 602901"/>
              <a:gd name="connsiteX2" fmla="*/ 6300317 w 8862646"/>
              <a:gd name="connsiteY2" fmla="*/ 311501 h 602901"/>
              <a:gd name="connsiteX3" fmla="*/ 8862646 w 8862646"/>
              <a:gd name="connsiteY3" fmla="*/ 0 h 602901"/>
              <a:gd name="connsiteX0" fmla="*/ 0 w 8862646"/>
              <a:gd name="connsiteY0" fmla="*/ 602901 h 602901"/>
              <a:gd name="connsiteX1" fmla="*/ 3084844 w 8862646"/>
              <a:gd name="connsiteY1" fmla="*/ 432079 h 602901"/>
              <a:gd name="connsiteX2" fmla="*/ 6300317 w 8862646"/>
              <a:gd name="connsiteY2" fmla="*/ 311501 h 602901"/>
              <a:gd name="connsiteX3" fmla="*/ 8862646 w 8862646"/>
              <a:gd name="connsiteY3" fmla="*/ 0 h 602901"/>
              <a:gd name="connsiteX0" fmla="*/ 0 w 8892791"/>
              <a:gd name="connsiteY0" fmla="*/ 703385 h 703385"/>
              <a:gd name="connsiteX1" fmla="*/ 3114989 w 8892791"/>
              <a:gd name="connsiteY1" fmla="*/ 432079 h 703385"/>
              <a:gd name="connsiteX2" fmla="*/ 6330462 w 8892791"/>
              <a:gd name="connsiteY2" fmla="*/ 311501 h 703385"/>
              <a:gd name="connsiteX3" fmla="*/ 8892791 w 8892791"/>
              <a:gd name="connsiteY3" fmla="*/ 0 h 703385"/>
              <a:gd name="connsiteX0" fmla="*/ 0 w 8892791"/>
              <a:gd name="connsiteY0" fmla="*/ 703385 h 703385"/>
              <a:gd name="connsiteX1" fmla="*/ 3114989 w 8892791"/>
              <a:gd name="connsiteY1" fmla="*/ 472273 h 703385"/>
              <a:gd name="connsiteX2" fmla="*/ 6330462 w 8892791"/>
              <a:gd name="connsiteY2" fmla="*/ 311501 h 703385"/>
              <a:gd name="connsiteX3" fmla="*/ 8892791 w 8892791"/>
              <a:gd name="connsiteY3" fmla="*/ 0 h 703385"/>
              <a:gd name="connsiteX0" fmla="*/ 0 w 8892791"/>
              <a:gd name="connsiteY0" fmla="*/ 703385 h 703385"/>
              <a:gd name="connsiteX1" fmla="*/ 3114989 w 8892791"/>
              <a:gd name="connsiteY1" fmla="*/ 472273 h 703385"/>
              <a:gd name="connsiteX2" fmla="*/ 6330462 w 8892791"/>
              <a:gd name="connsiteY2" fmla="*/ 271308 h 703385"/>
              <a:gd name="connsiteX3" fmla="*/ 8892791 w 8892791"/>
              <a:gd name="connsiteY3" fmla="*/ 0 h 703385"/>
              <a:gd name="connsiteX0" fmla="*/ 0 w 8892791"/>
              <a:gd name="connsiteY0" fmla="*/ 703385 h 703385"/>
              <a:gd name="connsiteX1" fmla="*/ 3114989 w 8892791"/>
              <a:gd name="connsiteY1" fmla="*/ 472273 h 703385"/>
              <a:gd name="connsiteX2" fmla="*/ 6330462 w 8892791"/>
              <a:gd name="connsiteY2" fmla="*/ 331598 h 703385"/>
              <a:gd name="connsiteX3" fmla="*/ 8892791 w 8892791"/>
              <a:gd name="connsiteY3" fmla="*/ 0 h 703385"/>
              <a:gd name="connsiteX0" fmla="*/ 0 w 8892791"/>
              <a:gd name="connsiteY0" fmla="*/ 703385 h 703385"/>
              <a:gd name="connsiteX1" fmla="*/ 3114989 w 8892791"/>
              <a:gd name="connsiteY1" fmla="*/ 542611 h 703385"/>
              <a:gd name="connsiteX2" fmla="*/ 6330462 w 8892791"/>
              <a:gd name="connsiteY2" fmla="*/ 331598 h 703385"/>
              <a:gd name="connsiteX3" fmla="*/ 8892791 w 8892791"/>
              <a:gd name="connsiteY3" fmla="*/ 0 h 703385"/>
              <a:gd name="connsiteX0" fmla="*/ 0 w 8892791"/>
              <a:gd name="connsiteY0" fmla="*/ 703385 h 703385"/>
              <a:gd name="connsiteX1" fmla="*/ 3114989 w 8892791"/>
              <a:gd name="connsiteY1" fmla="*/ 572756 h 703385"/>
              <a:gd name="connsiteX2" fmla="*/ 6330462 w 8892791"/>
              <a:gd name="connsiteY2" fmla="*/ 331598 h 703385"/>
              <a:gd name="connsiteX3" fmla="*/ 8892791 w 8892791"/>
              <a:gd name="connsiteY3" fmla="*/ 0 h 703385"/>
              <a:gd name="connsiteX0" fmla="*/ 0 w 8892791"/>
              <a:gd name="connsiteY0" fmla="*/ 703385 h 703385"/>
              <a:gd name="connsiteX1" fmla="*/ 3114989 w 8892791"/>
              <a:gd name="connsiteY1" fmla="*/ 572756 h 703385"/>
              <a:gd name="connsiteX2" fmla="*/ 6330462 w 8892791"/>
              <a:gd name="connsiteY2" fmla="*/ 361743 h 703385"/>
              <a:gd name="connsiteX3" fmla="*/ 8892791 w 8892791"/>
              <a:gd name="connsiteY3" fmla="*/ 0 h 703385"/>
              <a:gd name="connsiteX0" fmla="*/ 0 w 8892791"/>
              <a:gd name="connsiteY0" fmla="*/ 703385 h 703385"/>
              <a:gd name="connsiteX1" fmla="*/ 3114989 w 8892791"/>
              <a:gd name="connsiteY1" fmla="*/ 572756 h 703385"/>
              <a:gd name="connsiteX2" fmla="*/ 6330462 w 8892791"/>
              <a:gd name="connsiteY2" fmla="*/ 361743 h 703385"/>
              <a:gd name="connsiteX3" fmla="*/ 8892791 w 8892791"/>
              <a:gd name="connsiteY3" fmla="*/ 0 h 703385"/>
              <a:gd name="connsiteX0" fmla="*/ 0 w 8923271"/>
              <a:gd name="connsiteY0" fmla="*/ 1079305 h 1079305"/>
              <a:gd name="connsiteX1" fmla="*/ 3145469 w 8923271"/>
              <a:gd name="connsiteY1" fmla="*/ 572756 h 1079305"/>
              <a:gd name="connsiteX2" fmla="*/ 6360942 w 8923271"/>
              <a:gd name="connsiteY2" fmla="*/ 361743 h 1079305"/>
              <a:gd name="connsiteX3" fmla="*/ 8923271 w 8923271"/>
              <a:gd name="connsiteY3" fmla="*/ 0 h 1079305"/>
              <a:gd name="connsiteX0" fmla="*/ 0 w 8923271"/>
              <a:gd name="connsiteY0" fmla="*/ 1079305 h 1079305"/>
              <a:gd name="connsiteX1" fmla="*/ 3145469 w 8923271"/>
              <a:gd name="connsiteY1" fmla="*/ 725156 h 1079305"/>
              <a:gd name="connsiteX2" fmla="*/ 6360942 w 8923271"/>
              <a:gd name="connsiteY2" fmla="*/ 361743 h 1079305"/>
              <a:gd name="connsiteX3" fmla="*/ 8923271 w 8923271"/>
              <a:gd name="connsiteY3" fmla="*/ 0 h 1079305"/>
              <a:gd name="connsiteX0" fmla="*/ 0 w 8902951"/>
              <a:gd name="connsiteY0" fmla="*/ 967545 h 967545"/>
              <a:gd name="connsiteX1" fmla="*/ 3125149 w 8902951"/>
              <a:gd name="connsiteY1" fmla="*/ 725156 h 967545"/>
              <a:gd name="connsiteX2" fmla="*/ 6340622 w 8902951"/>
              <a:gd name="connsiteY2" fmla="*/ 361743 h 967545"/>
              <a:gd name="connsiteX3" fmla="*/ 8902951 w 8902951"/>
              <a:gd name="connsiteY3" fmla="*/ 0 h 967545"/>
              <a:gd name="connsiteX0" fmla="*/ 0 w 8902951"/>
              <a:gd name="connsiteY0" fmla="*/ 967545 h 967545"/>
              <a:gd name="connsiteX1" fmla="*/ 3125149 w 8902951"/>
              <a:gd name="connsiteY1" fmla="*/ 725156 h 967545"/>
              <a:gd name="connsiteX2" fmla="*/ 6340622 w 8902951"/>
              <a:gd name="connsiteY2" fmla="*/ 361743 h 967545"/>
              <a:gd name="connsiteX3" fmla="*/ 8902951 w 8902951"/>
              <a:gd name="connsiteY3" fmla="*/ 0 h 967545"/>
              <a:gd name="connsiteX0" fmla="*/ 0 w 8902951"/>
              <a:gd name="connsiteY0" fmla="*/ 967545 h 967545"/>
              <a:gd name="connsiteX1" fmla="*/ 3125149 w 8902951"/>
              <a:gd name="connsiteY1" fmla="*/ 725156 h 967545"/>
              <a:gd name="connsiteX2" fmla="*/ 6340622 w 8902951"/>
              <a:gd name="connsiteY2" fmla="*/ 361743 h 967545"/>
              <a:gd name="connsiteX3" fmla="*/ 8902951 w 8902951"/>
              <a:gd name="connsiteY3" fmla="*/ 0 h 967545"/>
              <a:gd name="connsiteX0" fmla="*/ 0 w 8902951"/>
              <a:gd name="connsiteY0" fmla="*/ 967545 h 967545"/>
              <a:gd name="connsiteX1" fmla="*/ 3125149 w 8902951"/>
              <a:gd name="connsiteY1" fmla="*/ 725156 h 967545"/>
              <a:gd name="connsiteX2" fmla="*/ 6340622 w 8902951"/>
              <a:gd name="connsiteY2" fmla="*/ 361743 h 967545"/>
              <a:gd name="connsiteX3" fmla="*/ 8902951 w 8902951"/>
              <a:gd name="connsiteY3" fmla="*/ 0 h 967545"/>
              <a:gd name="connsiteX0" fmla="*/ 0 w 8902951"/>
              <a:gd name="connsiteY0" fmla="*/ 967545 h 967545"/>
              <a:gd name="connsiteX1" fmla="*/ 3125149 w 8902951"/>
              <a:gd name="connsiteY1" fmla="*/ 725156 h 967545"/>
              <a:gd name="connsiteX2" fmla="*/ 6340622 w 8902951"/>
              <a:gd name="connsiteY2" fmla="*/ 361743 h 967545"/>
              <a:gd name="connsiteX3" fmla="*/ 8902951 w 8902951"/>
              <a:gd name="connsiteY3" fmla="*/ 0 h 967545"/>
              <a:gd name="connsiteX0" fmla="*/ 0 w 8902951"/>
              <a:gd name="connsiteY0" fmla="*/ 967545 h 967545"/>
              <a:gd name="connsiteX1" fmla="*/ 3125149 w 8902951"/>
              <a:gd name="connsiteY1" fmla="*/ 725156 h 967545"/>
              <a:gd name="connsiteX2" fmla="*/ 6340622 w 8902951"/>
              <a:gd name="connsiteY2" fmla="*/ 361743 h 967545"/>
              <a:gd name="connsiteX3" fmla="*/ 8902951 w 8902951"/>
              <a:gd name="connsiteY3" fmla="*/ 0 h 967545"/>
              <a:gd name="connsiteX0" fmla="*/ 0 w 8902951"/>
              <a:gd name="connsiteY0" fmla="*/ 835465 h 835465"/>
              <a:gd name="connsiteX1" fmla="*/ 3125149 w 8902951"/>
              <a:gd name="connsiteY1" fmla="*/ 725156 h 835465"/>
              <a:gd name="connsiteX2" fmla="*/ 6340622 w 8902951"/>
              <a:gd name="connsiteY2" fmla="*/ 361743 h 835465"/>
              <a:gd name="connsiteX3" fmla="*/ 8902951 w 8902951"/>
              <a:gd name="connsiteY3" fmla="*/ 0 h 835465"/>
              <a:gd name="connsiteX0" fmla="*/ 0 w 8902951"/>
              <a:gd name="connsiteY0" fmla="*/ 835465 h 835465"/>
              <a:gd name="connsiteX1" fmla="*/ 3094669 w 8902951"/>
              <a:gd name="connsiteY1" fmla="*/ 664196 h 835465"/>
              <a:gd name="connsiteX2" fmla="*/ 6340622 w 8902951"/>
              <a:gd name="connsiteY2" fmla="*/ 361743 h 835465"/>
              <a:gd name="connsiteX3" fmla="*/ 8902951 w 8902951"/>
              <a:gd name="connsiteY3" fmla="*/ 0 h 835465"/>
              <a:gd name="connsiteX0" fmla="*/ 0 w 8902951"/>
              <a:gd name="connsiteY0" fmla="*/ 835465 h 835465"/>
              <a:gd name="connsiteX1" fmla="*/ 3094669 w 8902951"/>
              <a:gd name="connsiteY1" fmla="*/ 664196 h 835465"/>
              <a:gd name="connsiteX2" fmla="*/ 6340622 w 8902951"/>
              <a:gd name="connsiteY2" fmla="*/ 331263 h 835465"/>
              <a:gd name="connsiteX3" fmla="*/ 8902951 w 8902951"/>
              <a:gd name="connsiteY3" fmla="*/ 0 h 835465"/>
              <a:gd name="connsiteX0" fmla="*/ 0 w 8852151"/>
              <a:gd name="connsiteY0" fmla="*/ 865945 h 865945"/>
              <a:gd name="connsiteX1" fmla="*/ 3094669 w 8852151"/>
              <a:gd name="connsiteY1" fmla="*/ 694676 h 865945"/>
              <a:gd name="connsiteX2" fmla="*/ 6340622 w 8852151"/>
              <a:gd name="connsiteY2" fmla="*/ 361743 h 865945"/>
              <a:gd name="connsiteX3" fmla="*/ 8852151 w 8852151"/>
              <a:gd name="connsiteY3" fmla="*/ 0 h 865945"/>
              <a:gd name="connsiteX0" fmla="*/ 0 w 8852151"/>
              <a:gd name="connsiteY0" fmla="*/ 865945 h 865945"/>
              <a:gd name="connsiteX1" fmla="*/ 3094669 w 8852151"/>
              <a:gd name="connsiteY1" fmla="*/ 694676 h 865945"/>
              <a:gd name="connsiteX2" fmla="*/ 6340622 w 8852151"/>
              <a:gd name="connsiteY2" fmla="*/ 402383 h 865945"/>
              <a:gd name="connsiteX3" fmla="*/ 8852151 w 8852151"/>
              <a:gd name="connsiteY3" fmla="*/ 0 h 865945"/>
              <a:gd name="connsiteX0" fmla="*/ 0 w 8872471"/>
              <a:gd name="connsiteY0" fmla="*/ 937065 h 937065"/>
              <a:gd name="connsiteX1" fmla="*/ 3114989 w 8872471"/>
              <a:gd name="connsiteY1" fmla="*/ 694676 h 937065"/>
              <a:gd name="connsiteX2" fmla="*/ 6360942 w 8872471"/>
              <a:gd name="connsiteY2" fmla="*/ 402383 h 937065"/>
              <a:gd name="connsiteX3" fmla="*/ 8872471 w 8872471"/>
              <a:gd name="connsiteY3" fmla="*/ 0 h 937065"/>
              <a:gd name="connsiteX0" fmla="*/ 0 w 8872471"/>
              <a:gd name="connsiteY0" fmla="*/ 937065 h 937065"/>
              <a:gd name="connsiteX1" fmla="*/ 3114989 w 8872471"/>
              <a:gd name="connsiteY1" fmla="*/ 755636 h 937065"/>
              <a:gd name="connsiteX2" fmla="*/ 6360942 w 8872471"/>
              <a:gd name="connsiteY2" fmla="*/ 402383 h 937065"/>
              <a:gd name="connsiteX3" fmla="*/ 8872471 w 8872471"/>
              <a:gd name="connsiteY3" fmla="*/ 0 h 937065"/>
              <a:gd name="connsiteX0" fmla="*/ 0 w 8872471"/>
              <a:gd name="connsiteY0" fmla="*/ 937065 h 937065"/>
              <a:gd name="connsiteX1" fmla="*/ 3114989 w 8872471"/>
              <a:gd name="connsiteY1" fmla="*/ 755636 h 937065"/>
              <a:gd name="connsiteX2" fmla="*/ 6360942 w 8872471"/>
              <a:gd name="connsiteY2" fmla="*/ 402383 h 937065"/>
              <a:gd name="connsiteX3" fmla="*/ 8872471 w 8872471"/>
              <a:gd name="connsiteY3" fmla="*/ 0 h 937065"/>
              <a:gd name="connsiteX0" fmla="*/ 0 w 8872471"/>
              <a:gd name="connsiteY0" fmla="*/ 937065 h 937065"/>
              <a:gd name="connsiteX1" fmla="*/ 3114989 w 8872471"/>
              <a:gd name="connsiteY1" fmla="*/ 755636 h 937065"/>
              <a:gd name="connsiteX2" fmla="*/ 6360942 w 8872471"/>
              <a:gd name="connsiteY2" fmla="*/ 453183 h 937065"/>
              <a:gd name="connsiteX3" fmla="*/ 8872471 w 8872471"/>
              <a:gd name="connsiteY3" fmla="*/ 0 h 937065"/>
              <a:gd name="connsiteX0" fmla="*/ 0 w 8872471"/>
              <a:gd name="connsiteY0" fmla="*/ 937065 h 937065"/>
              <a:gd name="connsiteX1" fmla="*/ 3114989 w 8872471"/>
              <a:gd name="connsiteY1" fmla="*/ 755636 h 937065"/>
              <a:gd name="connsiteX2" fmla="*/ 6360942 w 8872471"/>
              <a:gd name="connsiteY2" fmla="*/ 453183 h 937065"/>
              <a:gd name="connsiteX3" fmla="*/ 8872471 w 8872471"/>
              <a:gd name="connsiteY3" fmla="*/ 0 h 937065"/>
              <a:gd name="connsiteX0" fmla="*/ 0 w 8872471"/>
              <a:gd name="connsiteY0" fmla="*/ 937065 h 937065"/>
              <a:gd name="connsiteX1" fmla="*/ 3114989 w 8872471"/>
              <a:gd name="connsiteY1" fmla="*/ 755636 h 937065"/>
              <a:gd name="connsiteX2" fmla="*/ 6350782 w 8872471"/>
              <a:gd name="connsiteY2" fmla="*/ 422703 h 937065"/>
              <a:gd name="connsiteX3" fmla="*/ 8872471 w 8872471"/>
              <a:gd name="connsiteY3" fmla="*/ 0 h 937065"/>
              <a:gd name="connsiteX0" fmla="*/ 0 w 8872471"/>
              <a:gd name="connsiteY0" fmla="*/ 937065 h 937065"/>
              <a:gd name="connsiteX1" fmla="*/ 3114989 w 8872471"/>
              <a:gd name="connsiteY1" fmla="*/ 755636 h 937065"/>
              <a:gd name="connsiteX2" fmla="*/ 6350782 w 8872471"/>
              <a:gd name="connsiteY2" fmla="*/ 422703 h 937065"/>
              <a:gd name="connsiteX3" fmla="*/ 8872471 w 8872471"/>
              <a:gd name="connsiteY3" fmla="*/ 0 h 937065"/>
              <a:gd name="connsiteX0" fmla="*/ 0 w 8872471"/>
              <a:gd name="connsiteY0" fmla="*/ 937065 h 937065"/>
              <a:gd name="connsiteX1" fmla="*/ 3114989 w 8872471"/>
              <a:gd name="connsiteY1" fmla="*/ 755636 h 937065"/>
              <a:gd name="connsiteX2" fmla="*/ 6350782 w 8872471"/>
              <a:gd name="connsiteY2" fmla="*/ 422703 h 937065"/>
              <a:gd name="connsiteX3" fmla="*/ 8872471 w 8872471"/>
              <a:gd name="connsiteY3" fmla="*/ 0 h 937065"/>
              <a:gd name="connsiteX0" fmla="*/ 0 w 8872471"/>
              <a:gd name="connsiteY0" fmla="*/ 937065 h 937065"/>
              <a:gd name="connsiteX1" fmla="*/ 3114989 w 8872471"/>
              <a:gd name="connsiteY1" fmla="*/ 755636 h 937065"/>
              <a:gd name="connsiteX2" fmla="*/ 6350782 w 8872471"/>
              <a:gd name="connsiteY2" fmla="*/ 422703 h 937065"/>
              <a:gd name="connsiteX3" fmla="*/ 8872471 w 8872471"/>
              <a:gd name="connsiteY3" fmla="*/ 0 h 937065"/>
              <a:gd name="connsiteX0" fmla="*/ 0 w 8841991"/>
              <a:gd name="connsiteY0" fmla="*/ 1079305 h 1079305"/>
              <a:gd name="connsiteX1" fmla="*/ 3114989 w 8841991"/>
              <a:gd name="connsiteY1" fmla="*/ 897876 h 1079305"/>
              <a:gd name="connsiteX2" fmla="*/ 6350782 w 8841991"/>
              <a:gd name="connsiteY2" fmla="*/ 564943 h 1079305"/>
              <a:gd name="connsiteX3" fmla="*/ 8841991 w 8841991"/>
              <a:gd name="connsiteY3" fmla="*/ 0 h 1079305"/>
              <a:gd name="connsiteX0" fmla="*/ 0 w 8882631"/>
              <a:gd name="connsiteY0" fmla="*/ 1170745 h 1170745"/>
              <a:gd name="connsiteX1" fmla="*/ 3114989 w 8882631"/>
              <a:gd name="connsiteY1" fmla="*/ 989316 h 1170745"/>
              <a:gd name="connsiteX2" fmla="*/ 6350782 w 8882631"/>
              <a:gd name="connsiteY2" fmla="*/ 656383 h 1170745"/>
              <a:gd name="connsiteX3" fmla="*/ 8882631 w 8882631"/>
              <a:gd name="connsiteY3" fmla="*/ 0 h 1170745"/>
              <a:gd name="connsiteX0" fmla="*/ 0 w 8882631"/>
              <a:gd name="connsiteY0" fmla="*/ 1170745 h 1170745"/>
              <a:gd name="connsiteX1" fmla="*/ 3114989 w 8882631"/>
              <a:gd name="connsiteY1" fmla="*/ 989316 h 1170745"/>
              <a:gd name="connsiteX2" fmla="*/ 6350782 w 8882631"/>
              <a:gd name="connsiteY2" fmla="*/ 656383 h 1170745"/>
              <a:gd name="connsiteX3" fmla="*/ 8882631 w 8882631"/>
              <a:gd name="connsiteY3" fmla="*/ 0 h 1170745"/>
              <a:gd name="connsiteX0" fmla="*/ 0 w 8852151"/>
              <a:gd name="connsiteY0" fmla="*/ 1140265 h 1140265"/>
              <a:gd name="connsiteX1" fmla="*/ 3114989 w 8852151"/>
              <a:gd name="connsiteY1" fmla="*/ 958836 h 1140265"/>
              <a:gd name="connsiteX2" fmla="*/ 6350782 w 8852151"/>
              <a:gd name="connsiteY2" fmla="*/ 625903 h 1140265"/>
              <a:gd name="connsiteX3" fmla="*/ 8852151 w 8852151"/>
              <a:gd name="connsiteY3" fmla="*/ 0 h 1140265"/>
              <a:gd name="connsiteX0" fmla="*/ 0 w 8801351"/>
              <a:gd name="connsiteY0" fmla="*/ 1130105 h 1130105"/>
              <a:gd name="connsiteX1" fmla="*/ 3114989 w 8801351"/>
              <a:gd name="connsiteY1" fmla="*/ 948676 h 1130105"/>
              <a:gd name="connsiteX2" fmla="*/ 6350782 w 8801351"/>
              <a:gd name="connsiteY2" fmla="*/ 615743 h 1130105"/>
              <a:gd name="connsiteX3" fmla="*/ 8801351 w 8801351"/>
              <a:gd name="connsiteY3" fmla="*/ 0 h 1130105"/>
              <a:gd name="connsiteX0" fmla="*/ 0 w 8801351"/>
              <a:gd name="connsiteY0" fmla="*/ 1130105 h 1130105"/>
              <a:gd name="connsiteX1" fmla="*/ 3114989 w 8801351"/>
              <a:gd name="connsiteY1" fmla="*/ 948676 h 1130105"/>
              <a:gd name="connsiteX2" fmla="*/ 6350782 w 8801351"/>
              <a:gd name="connsiteY2" fmla="*/ 615743 h 1130105"/>
              <a:gd name="connsiteX3" fmla="*/ 8801351 w 8801351"/>
              <a:gd name="connsiteY3" fmla="*/ 0 h 1130105"/>
              <a:gd name="connsiteX0" fmla="*/ 0 w 8831831"/>
              <a:gd name="connsiteY0" fmla="*/ 1140265 h 1140265"/>
              <a:gd name="connsiteX1" fmla="*/ 3114989 w 8831831"/>
              <a:gd name="connsiteY1" fmla="*/ 95883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140265 h 1140265"/>
              <a:gd name="connsiteX1" fmla="*/ 3247069 w 8831831"/>
              <a:gd name="connsiteY1" fmla="*/ 1029956 h 1140265"/>
              <a:gd name="connsiteX2" fmla="*/ 6350782 w 8831831"/>
              <a:gd name="connsiteY2" fmla="*/ 625903 h 1140265"/>
              <a:gd name="connsiteX3" fmla="*/ 8831831 w 8831831"/>
              <a:gd name="connsiteY3" fmla="*/ 0 h 1140265"/>
              <a:gd name="connsiteX0" fmla="*/ 0 w 8831831"/>
              <a:gd name="connsiteY0" fmla="*/ 1069145 h 1069145"/>
              <a:gd name="connsiteX1" fmla="*/ 3247069 w 8831831"/>
              <a:gd name="connsiteY1" fmla="*/ 1029956 h 1069145"/>
              <a:gd name="connsiteX2" fmla="*/ 6350782 w 8831831"/>
              <a:gd name="connsiteY2" fmla="*/ 625903 h 1069145"/>
              <a:gd name="connsiteX3" fmla="*/ 8831831 w 8831831"/>
              <a:gd name="connsiteY3" fmla="*/ 0 h 1069145"/>
              <a:gd name="connsiteX0" fmla="*/ 0 w 8831831"/>
              <a:gd name="connsiteY0" fmla="*/ 1069145 h 1069145"/>
              <a:gd name="connsiteX1" fmla="*/ 3247069 w 8831831"/>
              <a:gd name="connsiteY1" fmla="*/ 1029956 h 1069145"/>
              <a:gd name="connsiteX2" fmla="*/ 6350782 w 8831831"/>
              <a:gd name="connsiteY2" fmla="*/ 625903 h 1069145"/>
              <a:gd name="connsiteX3" fmla="*/ 8831831 w 8831831"/>
              <a:gd name="connsiteY3" fmla="*/ 0 h 1069145"/>
              <a:gd name="connsiteX0" fmla="*/ 0 w 8831831"/>
              <a:gd name="connsiteY0" fmla="*/ 1069145 h 1069145"/>
              <a:gd name="connsiteX1" fmla="*/ 3247069 w 8831831"/>
              <a:gd name="connsiteY1" fmla="*/ 989316 h 1069145"/>
              <a:gd name="connsiteX2" fmla="*/ 6350782 w 8831831"/>
              <a:gd name="connsiteY2" fmla="*/ 625903 h 1069145"/>
              <a:gd name="connsiteX3" fmla="*/ 8831831 w 8831831"/>
              <a:gd name="connsiteY3" fmla="*/ 0 h 1069145"/>
            </a:gdLst>
            <a:ahLst/>
            <a:cxnLst>
              <a:cxn ang="0">
                <a:pos x="connsiteX0" y="connsiteY0"/>
              </a:cxn>
              <a:cxn ang="0">
                <a:pos x="connsiteX1" y="connsiteY1"/>
              </a:cxn>
              <a:cxn ang="0">
                <a:pos x="connsiteX2" y="connsiteY2"/>
              </a:cxn>
              <a:cxn ang="0">
                <a:pos x="connsiteX3" y="connsiteY3"/>
              </a:cxn>
            </a:cxnLst>
            <a:rect l="l" t="t" r="r" b="b"/>
            <a:pathLst>
              <a:path w="8831831" h="1069145">
                <a:moveTo>
                  <a:pt x="0" y="1069145"/>
                </a:moveTo>
                <a:cubicBezTo>
                  <a:pt x="1038330" y="1028989"/>
                  <a:pt x="2188605" y="1063190"/>
                  <a:pt x="3247069" y="989316"/>
                </a:cubicBezTo>
                <a:cubicBezTo>
                  <a:pt x="4305533" y="915442"/>
                  <a:pt x="5360238" y="865574"/>
                  <a:pt x="6350782" y="625903"/>
                </a:cubicBezTo>
                <a:cubicBezTo>
                  <a:pt x="7318773" y="403499"/>
                  <a:pt x="8019477" y="262597"/>
                  <a:pt x="8831831" y="0"/>
                </a:cubicBezTo>
              </a:path>
            </a:pathLst>
          </a:custGeom>
          <a:noFill/>
          <a:ln w="95250">
            <a:solidFill>
              <a:srgbClr val="00A69A">
                <a:alpha val="27000"/>
              </a:srgbClr>
            </a:solidFill>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94" name="フリーフォーム: 図形 93">
            <a:extLst>
              <a:ext uri="{FF2B5EF4-FFF2-40B4-BE49-F238E27FC236}">
                <a16:creationId xmlns:a16="http://schemas.microsoft.com/office/drawing/2014/main" id="{496393F4-CADF-49F7-B185-0E89276FB3AB}"/>
              </a:ext>
            </a:extLst>
          </p:cNvPr>
          <p:cNvSpPr/>
          <p:nvPr/>
        </p:nvSpPr>
        <p:spPr>
          <a:xfrm>
            <a:off x="2385066" y="2901479"/>
            <a:ext cx="8053084" cy="1723961"/>
          </a:xfrm>
          <a:custGeom>
            <a:avLst/>
            <a:gdLst>
              <a:gd name="connsiteX0" fmla="*/ 0 w 8621486"/>
              <a:gd name="connsiteY0" fmla="*/ 1125415 h 1125415"/>
              <a:gd name="connsiteX1" fmla="*/ 3788229 w 8621486"/>
              <a:gd name="connsiteY1" fmla="*/ 743578 h 1125415"/>
              <a:gd name="connsiteX2" fmla="*/ 7224765 w 8621486"/>
              <a:gd name="connsiteY2" fmla="*/ 411983 h 1125415"/>
              <a:gd name="connsiteX3" fmla="*/ 8621486 w 8621486"/>
              <a:gd name="connsiteY3" fmla="*/ 0 h 1125415"/>
              <a:gd name="connsiteX0" fmla="*/ 0 w 8571244"/>
              <a:gd name="connsiteY0" fmla="*/ 1175656 h 1175656"/>
              <a:gd name="connsiteX1" fmla="*/ 3788229 w 8571244"/>
              <a:gd name="connsiteY1" fmla="*/ 793819 h 1175656"/>
              <a:gd name="connsiteX2" fmla="*/ 7224765 w 8571244"/>
              <a:gd name="connsiteY2" fmla="*/ 462224 h 1175656"/>
              <a:gd name="connsiteX3" fmla="*/ 8571244 w 8571244"/>
              <a:gd name="connsiteY3" fmla="*/ 0 h 1175656"/>
              <a:gd name="connsiteX0" fmla="*/ 0 w 8571244"/>
              <a:gd name="connsiteY0" fmla="*/ 1175656 h 1175656"/>
              <a:gd name="connsiteX1" fmla="*/ 3788229 w 8571244"/>
              <a:gd name="connsiteY1" fmla="*/ 793819 h 1175656"/>
              <a:gd name="connsiteX2" fmla="*/ 7224765 w 8571244"/>
              <a:gd name="connsiteY2" fmla="*/ 462224 h 1175656"/>
              <a:gd name="connsiteX3" fmla="*/ 8571244 w 8571244"/>
              <a:gd name="connsiteY3" fmla="*/ 0 h 1175656"/>
              <a:gd name="connsiteX0" fmla="*/ 0 w 8571244"/>
              <a:gd name="connsiteY0" fmla="*/ 1175656 h 1175656"/>
              <a:gd name="connsiteX1" fmla="*/ 3788229 w 8571244"/>
              <a:gd name="connsiteY1" fmla="*/ 793819 h 1175656"/>
              <a:gd name="connsiteX2" fmla="*/ 7214717 w 8571244"/>
              <a:gd name="connsiteY2" fmla="*/ 411982 h 1175656"/>
              <a:gd name="connsiteX3" fmla="*/ 8571244 w 8571244"/>
              <a:gd name="connsiteY3" fmla="*/ 0 h 1175656"/>
              <a:gd name="connsiteX0" fmla="*/ 0 w 8571244"/>
              <a:gd name="connsiteY0" fmla="*/ 1175656 h 1175656"/>
              <a:gd name="connsiteX1" fmla="*/ 3788229 w 8571244"/>
              <a:gd name="connsiteY1" fmla="*/ 793819 h 1175656"/>
              <a:gd name="connsiteX2" fmla="*/ 7204668 w 8571244"/>
              <a:gd name="connsiteY2" fmla="*/ 452175 h 1175656"/>
              <a:gd name="connsiteX3" fmla="*/ 8571244 w 8571244"/>
              <a:gd name="connsiteY3" fmla="*/ 0 h 1175656"/>
              <a:gd name="connsiteX0" fmla="*/ 0 w 8571244"/>
              <a:gd name="connsiteY0" fmla="*/ 1175656 h 1175656"/>
              <a:gd name="connsiteX1" fmla="*/ 3788229 w 8571244"/>
              <a:gd name="connsiteY1" fmla="*/ 793819 h 1175656"/>
              <a:gd name="connsiteX2" fmla="*/ 7204668 w 8571244"/>
              <a:gd name="connsiteY2" fmla="*/ 411981 h 1175656"/>
              <a:gd name="connsiteX3" fmla="*/ 8571244 w 8571244"/>
              <a:gd name="connsiteY3" fmla="*/ 0 h 1175656"/>
              <a:gd name="connsiteX0" fmla="*/ 0 w 8571244"/>
              <a:gd name="connsiteY0" fmla="*/ 1175656 h 1175656"/>
              <a:gd name="connsiteX1" fmla="*/ 3788229 w 8571244"/>
              <a:gd name="connsiteY1" fmla="*/ 793819 h 1175656"/>
              <a:gd name="connsiteX2" fmla="*/ 7204668 w 8571244"/>
              <a:gd name="connsiteY2" fmla="*/ 411981 h 1175656"/>
              <a:gd name="connsiteX3" fmla="*/ 8571244 w 8571244"/>
              <a:gd name="connsiteY3" fmla="*/ 0 h 1175656"/>
              <a:gd name="connsiteX0" fmla="*/ 0 w 8571244"/>
              <a:gd name="connsiteY0" fmla="*/ 1175656 h 1175656"/>
              <a:gd name="connsiteX1" fmla="*/ 3788229 w 8571244"/>
              <a:gd name="connsiteY1" fmla="*/ 793819 h 1175656"/>
              <a:gd name="connsiteX2" fmla="*/ 7154426 w 8571244"/>
              <a:gd name="connsiteY2" fmla="*/ 341643 h 1175656"/>
              <a:gd name="connsiteX3" fmla="*/ 8571244 w 8571244"/>
              <a:gd name="connsiteY3" fmla="*/ 0 h 1175656"/>
              <a:gd name="connsiteX0" fmla="*/ 0 w 8571244"/>
              <a:gd name="connsiteY0" fmla="*/ 1175656 h 1175656"/>
              <a:gd name="connsiteX1" fmla="*/ 3788229 w 8571244"/>
              <a:gd name="connsiteY1" fmla="*/ 793819 h 1175656"/>
              <a:gd name="connsiteX2" fmla="*/ 7154426 w 8571244"/>
              <a:gd name="connsiteY2" fmla="*/ 371788 h 1175656"/>
              <a:gd name="connsiteX3" fmla="*/ 8571244 w 8571244"/>
              <a:gd name="connsiteY3" fmla="*/ 0 h 1175656"/>
              <a:gd name="connsiteX0" fmla="*/ 0 w 8571244"/>
              <a:gd name="connsiteY0" fmla="*/ 1175656 h 1175656"/>
              <a:gd name="connsiteX1" fmla="*/ 3788229 w 8571244"/>
              <a:gd name="connsiteY1" fmla="*/ 793819 h 1175656"/>
              <a:gd name="connsiteX2" fmla="*/ 7154426 w 8571244"/>
              <a:gd name="connsiteY2" fmla="*/ 371788 h 1175656"/>
              <a:gd name="connsiteX3" fmla="*/ 8571244 w 8571244"/>
              <a:gd name="connsiteY3" fmla="*/ 0 h 1175656"/>
              <a:gd name="connsiteX0" fmla="*/ 0 w 8571244"/>
              <a:gd name="connsiteY0" fmla="*/ 1175656 h 1175656"/>
              <a:gd name="connsiteX1" fmla="*/ 3788229 w 8571244"/>
              <a:gd name="connsiteY1" fmla="*/ 793819 h 1175656"/>
              <a:gd name="connsiteX2" fmla="*/ 7154426 w 8571244"/>
              <a:gd name="connsiteY2" fmla="*/ 371788 h 1175656"/>
              <a:gd name="connsiteX3" fmla="*/ 8571244 w 8571244"/>
              <a:gd name="connsiteY3" fmla="*/ 0 h 1175656"/>
              <a:gd name="connsiteX0" fmla="*/ 0 w 8571244"/>
              <a:gd name="connsiteY0" fmla="*/ 1205801 h 1205801"/>
              <a:gd name="connsiteX1" fmla="*/ 3788229 w 8571244"/>
              <a:gd name="connsiteY1" fmla="*/ 823964 h 1205801"/>
              <a:gd name="connsiteX2" fmla="*/ 7154426 w 8571244"/>
              <a:gd name="connsiteY2" fmla="*/ 401933 h 1205801"/>
              <a:gd name="connsiteX3" fmla="*/ 8571244 w 8571244"/>
              <a:gd name="connsiteY3" fmla="*/ 0 h 1205801"/>
              <a:gd name="connsiteX0" fmla="*/ 0 w 8571244"/>
              <a:gd name="connsiteY0" fmla="*/ 1205801 h 1205801"/>
              <a:gd name="connsiteX1" fmla="*/ 3788229 w 8571244"/>
              <a:gd name="connsiteY1" fmla="*/ 823964 h 1205801"/>
              <a:gd name="connsiteX2" fmla="*/ 7154426 w 8571244"/>
              <a:gd name="connsiteY2" fmla="*/ 432078 h 1205801"/>
              <a:gd name="connsiteX3" fmla="*/ 8571244 w 8571244"/>
              <a:gd name="connsiteY3" fmla="*/ 0 h 1205801"/>
              <a:gd name="connsiteX0" fmla="*/ 0 w 8571244"/>
              <a:gd name="connsiteY0" fmla="*/ 1205801 h 1205801"/>
              <a:gd name="connsiteX1" fmla="*/ 3788229 w 8571244"/>
              <a:gd name="connsiteY1" fmla="*/ 904351 h 1205801"/>
              <a:gd name="connsiteX2" fmla="*/ 7154426 w 8571244"/>
              <a:gd name="connsiteY2" fmla="*/ 432078 h 1205801"/>
              <a:gd name="connsiteX3" fmla="*/ 8571244 w 8571244"/>
              <a:gd name="connsiteY3" fmla="*/ 0 h 1205801"/>
              <a:gd name="connsiteX0" fmla="*/ 0 w 8144524"/>
              <a:gd name="connsiteY0" fmla="*/ 1480121 h 1480121"/>
              <a:gd name="connsiteX1" fmla="*/ 3361509 w 8144524"/>
              <a:gd name="connsiteY1" fmla="*/ 904351 h 1480121"/>
              <a:gd name="connsiteX2" fmla="*/ 6727706 w 8144524"/>
              <a:gd name="connsiteY2" fmla="*/ 432078 h 1480121"/>
              <a:gd name="connsiteX3" fmla="*/ 8144524 w 8144524"/>
              <a:gd name="connsiteY3" fmla="*/ 0 h 1480121"/>
              <a:gd name="connsiteX0" fmla="*/ 0 w 8144524"/>
              <a:gd name="connsiteY0" fmla="*/ 1480121 h 1480121"/>
              <a:gd name="connsiteX1" fmla="*/ 3351349 w 8144524"/>
              <a:gd name="connsiteY1" fmla="*/ 965311 h 1480121"/>
              <a:gd name="connsiteX2" fmla="*/ 6727706 w 8144524"/>
              <a:gd name="connsiteY2" fmla="*/ 432078 h 1480121"/>
              <a:gd name="connsiteX3" fmla="*/ 8144524 w 8144524"/>
              <a:gd name="connsiteY3" fmla="*/ 0 h 1480121"/>
              <a:gd name="connsiteX0" fmla="*/ 0 w 8144524"/>
              <a:gd name="connsiteY0" fmla="*/ 1480121 h 1480121"/>
              <a:gd name="connsiteX1" fmla="*/ 3351349 w 8144524"/>
              <a:gd name="connsiteY1" fmla="*/ 965311 h 1480121"/>
              <a:gd name="connsiteX2" fmla="*/ 6727706 w 8144524"/>
              <a:gd name="connsiteY2" fmla="*/ 432078 h 1480121"/>
              <a:gd name="connsiteX3" fmla="*/ 8144524 w 8144524"/>
              <a:gd name="connsiteY3" fmla="*/ 0 h 1480121"/>
              <a:gd name="connsiteX0" fmla="*/ 0 w 8134364"/>
              <a:gd name="connsiteY0" fmla="*/ 1378521 h 1378521"/>
              <a:gd name="connsiteX1" fmla="*/ 3341189 w 8134364"/>
              <a:gd name="connsiteY1" fmla="*/ 965311 h 1378521"/>
              <a:gd name="connsiteX2" fmla="*/ 6717546 w 8134364"/>
              <a:gd name="connsiteY2" fmla="*/ 432078 h 1378521"/>
              <a:gd name="connsiteX3" fmla="*/ 8134364 w 8134364"/>
              <a:gd name="connsiteY3" fmla="*/ 0 h 1378521"/>
              <a:gd name="connsiteX0" fmla="*/ 0 w 8134364"/>
              <a:gd name="connsiteY0" fmla="*/ 1317561 h 1317561"/>
              <a:gd name="connsiteX1" fmla="*/ 3341189 w 8134364"/>
              <a:gd name="connsiteY1" fmla="*/ 965311 h 1317561"/>
              <a:gd name="connsiteX2" fmla="*/ 6717546 w 8134364"/>
              <a:gd name="connsiteY2" fmla="*/ 432078 h 1317561"/>
              <a:gd name="connsiteX3" fmla="*/ 8134364 w 8134364"/>
              <a:gd name="connsiteY3" fmla="*/ 0 h 1317561"/>
              <a:gd name="connsiteX0" fmla="*/ 0 w 8134364"/>
              <a:gd name="connsiteY0" fmla="*/ 1317561 h 1317561"/>
              <a:gd name="connsiteX1" fmla="*/ 3341189 w 8134364"/>
              <a:gd name="connsiteY1" fmla="*/ 924671 h 1317561"/>
              <a:gd name="connsiteX2" fmla="*/ 6717546 w 8134364"/>
              <a:gd name="connsiteY2" fmla="*/ 432078 h 1317561"/>
              <a:gd name="connsiteX3" fmla="*/ 8134364 w 8134364"/>
              <a:gd name="connsiteY3" fmla="*/ 0 h 1317561"/>
              <a:gd name="connsiteX0" fmla="*/ 0 w 8134364"/>
              <a:gd name="connsiteY0" fmla="*/ 1317561 h 1317561"/>
              <a:gd name="connsiteX1" fmla="*/ 3341189 w 8134364"/>
              <a:gd name="connsiteY1" fmla="*/ 924671 h 1317561"/>
              <a:gd name="connsiteX2" fmla="*/ 6717546 w 8134364"/>
              <a:gd name="connsiteY2" fmla="*/ 391438 h 1317561"/>
              <a:gd name="connsiteX3" fmla="*/ 8134364 w 8134364"/>
              <a:gd name="connsiteY3" fmla="*/ 0 h 1317561"/>
              <a:gd name="connsiteX0" fmla="*/ 0 w 8134364"/>
              <a:gd name="connsiteY0" fmla="*/ 1317561 h 1317561"/>
              <a:gd name="connsiteX1" fmla="*/ 3341189 w 8134364"/>
              <a:gd name="connsiteY1" fmla="*/ 924671 h 1317561"/>
              <a:gd name="connsiteX2" fmla="*/ 6717546 w 8134364"/>
              <a:gd name="connsiteY2" fmla="*/ 391438 h 1317561"/>
              <a:gd name="connsiteX3" fmla="*/ 8134364 w 8134364"/>
              <a:gd name="connsiteY3" fmla="*/ 0 h 1317561"/>
              <a:gd name="connsiteX0" fmla="*/ 0 w 8134364"/>
              <a:gd name="connsiteY0" fmla="*/ 1317561 h 1317561"/>
              <a:gd name="connsiteX1" fmla="*/ 3341189 w 8134364"/>
              <a:gd name="connsiteY1" fmla="*/ 924671 h 1317561"/>
              <a:gd name="connsiteX2" fmla="*/ 6717546 w 8134364"/>
              <a:gd name="connsiteY2" fmla="*/ 391438 h 1317561"/>
              <a:gd name="connsiteX3" fmla="*/ 8134364 w 8134364"/>
              <a:gd name="connsiteY3" fmla="*/ 0 h 1317561"/>
              <a:gd name="connsiteX0" fmla="*/ 0 w 8134364"/>
              <a:gd name="connsiteY0" fmla="*/ 1317561 h 1317561"/>
              <a:gd name="connsiteX1" fmla="*/ 3341189 w 8134364"/>
              <a:gd name="connsiteY1" fmla="*/ 873871 h 1317561"/>
              <a:gd name="connsiteX2" fmla="*/ 6717546 w 8134364"/>
              <a:gd name="connsiteY2" fmla="*/ 391438 h 1317561"/>
              <a:gd name="connsiteX3" fmla="*/ 8134364 w 8134364"/>
              <a:gd name="connsiteY3" fmla="*/ 0 h 1317561"/>
              <a:gd name="connsiteX0" fmla="*/ 0 w 8154684"/>
              <a:gd name="connsiteY0" fmla="*/ 1256601 h 1256601"/>
              <a:gd name="connsiteX1" fmla="*/ 3361509 w 8154684"/>
              <a:gd name="connsiteY1" fmla="*/ 873871 h 1256601"/>
              <a:gd name="connsiteX2" fmla="*/ 6737866 w 8154684"/>
              <a:gd name="connsiteY2" fmla="*/ 391438 h 1256601"/>
              <a:gd name="connsiteX3" fmla="*/ 8154684 w 8154684"/>
              <a:gd name="connsiteY3" fmla="*/ 0 h 1256601"/>
              <a:gd name="connsiteX0" fmla="*/ 0 w 8154684"/>
              <a:gd name="connsiteY0" fmla="*/ 1256601 h 1256601"/>
              <a:gd name="connsiteX1" fmla="*/ 3351349 w 8154684"/>
              <a:gd name="connsiteY1" fmla="*/ 833231 h 1256601"/>
              <a:gd name="connsiteX2" fmla="*/ 6737866 w 8154684"/>
              <a:gd name="connsiteY2" fmla="*/ 391438 h 1256601"/>
              <a:gd name="connsiteX3" fmla="*/ 8154684 w 8154684"/>
              <a:gd name="connsiteY3" fmla="*/ 0 h 1256601"/>
              <a:gd name="connsiteX0" fmla="*/ 0 w 8154684"/>
              <a:gd name="connsiteY0" fmla="*/ 1256601 h 1256601"/>
              <a:gd name="connsiteX1" fmla="*/ 3351349 w 8154684"/>
              <a:gd name="connsiteY1" fmla="*/ 833231 h 1256601"/>
              <a:gd name="connsiteX2" fmla="*/ 6737866 w 8154684"/>
              <a:gd name="connsiteY2" fmla="*/ 391438 h 1256601"/>
              <a:gd name="connsiteX3" fmla="*/ 8154684 w 8154684"/>
              <a:gd name="connsiteY3" fmla="*/ 0 h 1256601"/>
              <a:gd name="connsiteX0" fmla="*/ 0 w 8154684"/>
              <a:gd name="connsiteY0" fmla="*/ 1256601 h 1256601"/>
              <a:gd name="connsiteX1" fmla="*/ 3351349 w 8154684"/>
              <a:gd name="connsiteY1" fmla="*/ 833231 h 1256601"/>
              <a:gd name="connsiteX2" fmla="*/ 6737866 w 8154684"/>
              <a:gd name="connsiteY2" fmla="*/ 391438 h 1256601"/>
              <a:gd name="connsiteX3" fmla="*/ 8154684 w 8154684"/>
              <a:gd name="connsiteY3" fmla="*/ 0 h 1256601"/>
              <a:gd name="connsiteX0" fmla="*/ 0 w 8154684"/>
              <a:gd name="connsiteY0" fmla="*/ 1256601 h 1256601"/>
              <a:gd name="connsiteX1" fmla="*/ 3351349 w 8154684"/>
              <a:gd name="connsiteY1" fmla="*/ 833231 h 1256601"/>
              <a:gd name="connsiteX2" fmla="*/ 6737866 w 8154684"/>
              <a:gd name="connsiteY2" fmla="*/ 391438 h 1256601"/>
              <a:gd name="connsiteX3" fmla="*/ 8154684 w 8154684"/>
              <a:gd name="connsiteY3" fmla="*/ 0 h 1256601"/>
              <a:gd name="connsiteX0" fmla="*/ 0 w 8144524"/>
              <a:gd name="connsiteY0" fmla="*/ 1297241 h 1297241"/>
              <a:gd name="connsiteX1" fmla="*/ 3341189 w 8144524"/>
              <a:gd name="connsiteY1" fmla="*/ 833231 h 1297241"/>
              <a:gd name="connsiteX2" fmla="*/ 6727706 w 8144524"/>
              <a:gd name="connsiteY2" fmla="*/ 391438 h 1297241"/>
              <a:gd name="connsiteX3" fmla="*/ 8144524 w 8144524"/>
              <a:gd name="connsiteY3" fmla="*/ 0 h 1297241"/>
              <a:gd name="connsiteX0" fmla="*/ 0 w 8144524"/>
              <a:gd name="connsiteY0" fmla="*/ 1297241 h 1297241"/>
              <a:gd name="connsiteX1" fmla="*/ 3341189 w 8144524"/>
              <a:gd name="connsiteY1" fmla="*/ 904351 h 1297241"/>
              <a:gd name="connsiteX2" fmla="*/ 6727706 w 8144524"/>
              <a:gd name="connsiteY2" fmla="*/ 391438 h 1297241"/>
              <a:gd name="connsiteX3" fmla="*/ 8144524 w 8144524"/>
              <a:gd name="connsiteY3" fmla="*/ 0 h 1297241"/>
              <a:gd name="connsiteX0" fmla="*/ 0 w 8144524"/>
              <a:gd name="connsiteY0" fmla="*/ 1297241 h 1297241"/>
              <a:gd name="connsiteX1" fmla="*/ 3341189 w 8144524"/>
              <a:gd name="connsiteY1" fmla="*/ 904351 h 1297241"/>
              <a:gd name="connsiteX2" fmla="*/ 6727706 w 8144524"/>
              <a:gd name="connsiteY2" fmla="*/ 391438 h 1297241"/>
              <a:gd name="connsiteX3" fmla="*/ 8144524 w 8144524"/>
              <a:gd name="connsiteY3" fmla="*/ 0 h 1297241"/>
              <a:gd name="connsiteX0" fmla="*/ 0 w 8144524"/>
              <a:gd name="connsiteY0" fmla="*/ 1337881 h 1337881"/>
              <a:gd name="connsiteX1" fmla="*/ 3341189 w 8144524"/>
              <a:gd name="connsiteY1" fmla="*/ 904351 h 1337881"/>
              <a:gd name="connsiteX2" fmla="*/ 6727706 w 8144524"/>
              <a:gd name="connsiteY2" fmla="*/ 391438 h 1337881"/>
              <a:gd name="connsiteX3" fmla="*/ 8144524 w 8144524"/>
              <a:gd name="connsiteY3" fmla="*/ 0 h 1337881"/>
              <a:gd name="connsiteX0" fmla="*/ 0 w 8144524"/>
              <a:gd name="connsiteY0" fmla="*/ 1337881 h 1337881"/>
              <a:gd name="connsiteX1" fmla="*/ 3341189 w 8144524"/>
              <a:gd name="connsiteY1" fmla="*/ 904351 h 1337881"/>
              <a:gd name="connsiteX2" fmla="*/ 6748026 w 8144524"/>
              <a:gd name="connsiteY2" fmla="*/ 340638 h 1337881"/>
              <a:gd name="connsiteX3" fmla="*/ 8144524 w 8144524"/>
              <a:gd name="connsiteY3" fmla="*/ 0 h 1337881"/>
              <a:gd name="connsiteX0" fmla="*/ 0 w 8083564"/>
              <a:gd name="connsiteY0" fmla="*/ 1663001 h 1663001"/>
              <a:gd name="connsiteX1" fmla="*/ 3341189 w 8083564"/>
              <a:gd name="connsiteY1" fmla="*/ 1229471 h 1663001"/>
              <a:gd name="connsiteX2" fmla="*/ 6748026 w 8083564"/>
              <a:gd name="connsiteY2" fmla="*/ 665758 h 1663001"/>
              <a:gd name="connsiteX3" fmla="*/ 8083564 w 8083564"/>
              <a:gd name="connsiteY3" fmla="*/ 0 h 1663001"/>
              <a:gd name="connsiteX0" fmla="*/ 0 w 8083564"/>
              <a:gd name="connsiteY0" fmla="*/ 1663001 h 1663001"/>
              <a:gd name="connsiteX1" fmla="*/ 3341189 w 8083564"/>
              <a:gd name="connsiteY1" fmla="*/ 1229471 h 1663001"/>
              <a:gd name="connsiteX2" fmla="*/ 6748026 w 8083564"/>
              <a:gd name="connsiteY2" fmla="*/ 665758 h 1663001"/>
              <a:gd name="connsiteX3" fmla="*/ 8083564 w 8083564"/>
              <a:gd name="connsiteY3" fmla="*/ 0 h 1663001"/>
              <a:gd name="connsiteX0" fmla="*/ 0 w 8083564"/>
              <a:gd name="connsiteY0" fmla="*/ 1663001 h 1663001"/>
              <a:gd name="connsiteX1" fmla="*/ 3341189 w 8083564"/>
              <a:gd name="connsiteY1" fmla="*/ 1229471 h 1663001"/>
              <a:gd name="connsiteX2" fmla="*/ 6361946 w 8083564"/>
              <a:gd name="connsiteY2" fmla="*/ 767358 h 1663001"/>
              <a:gd name="connsiteX3" fmla="*/ 8083564 w 8083564"/>
              <a:gd name="connsiteY3" fmla="*/ 0 h 1663001"/>
              <a:gd name="connsiteX0" fmla="*/ 0 w 8083564"/>
              <a:gd name="connsiteY0" fmla="*/ 1663001 h 1663001"/>
              <a:gd name="connsiteX1" fmla="*/ 3341189 w 8083564"/>
              <a:gd name="connsiteY1" fmla="*/ 1229471 h 1663001"/>
              <a:gd name="connsiteX2" fmla="*/ 6361946 w 8083564"/>
              <a:gd name="connsiteY2" fmla="*/ 767358 h 1663001"/>
              <a:gd name="connsiteX3" fmla="*/ 8083564 w 8083564"/>
              <a:gd name="connsiteY3" fmla="*/ 0 h 1663001"/>
              <a:gd name="connsiteX0" fmla="*/ 0 w 8083564"/>
              <a:gd name="connsiteY0" fmla="*/ 1663001 h 1663001"/>
              <a:gd name="connsiteX1" fmla="*/ 3331029 w 8083564"/>
              <a:gd name="connsiteY1" fmla="*/ 1300591 h 1663001"/>
              <a:gd name="connsiteX2" fmla="*/ 6361946 w 8083564"/>
              <a:gd name="connsiteY2" fmla="*/ 767358 h 1663001"/>
              <a:gd name="connsiteX3" fmla="*/ 8083564 w 8083564"/>
              <a:gd name="connsiteY3" fmla="*/ 0 h 1663001"/>
              <a:gd name="connsiteX0" fmla="*/ 0 w 8073404"/>
              <a:gd name="connsiteY0" fmla="*/ 1703641 h 1703641"/>
              <a:gd name="connsiteX1" fmla="*/ 3320869 w 8073404"/>
              <a:gd name="connsiteY1" fmla="*/ 1300591 h 1703641"/>
              <a:gd name="connsiteX2" fmla="*/ 6351786 w 8073404"/>
              <a:gd name="connsiteY2" fmla="*/ 767358 h 1703641"/>
              <a:gd name="connsiteX3" fmla="*/ 8073404 w 8073404"/>
              <a:gd name="connsiteY3" fmla="*/ 0 h 1703641"/>
              <a:gd name="connsiteX0" fmla="*/ 0 w 8073404"/>
              <a:gd name="connsiteY0" fmla="*/ 1703641 h 1703641"/>
              <a:gd name="connsiteX1" fmla="*/ 3320869 w 8073404"/>
              <a:gd name="connsiteY1" fmla="*/ 1300591 h 1703641"/>
              <a:gd name="connsiteX2" fmla="*/ 5864106 w 8073404"/>
              <a:gd name="connsiteY2" fmla="*/ 848638 h 1703641"/>
              <a:gd name="connsiteX3" fmla="*/ 8073404 w 8073404"/>
              <a:gd name="connsiteY3" fmla="*/ 0 h 1703641"/>
              <a:gd name="connsiteX0" fmla="*/ 0 w 8073404"/>
              <a:gd name="connsiteY0" fmla="*/ 1703641 h 1703641"/>
              <a:gd name="connsiteX1" fmla="*/ 3320869 w 8073404"/>
              <a:gd name="connsiteY1" fmla="*/ 1300591 h 1703641"/>
              <a:gd name="connsiteX2" fmla="*/ 5772666 w 8073404"/>
              <a:gd name="connsiteY2" fmla="*/ 838478 h 1703641"/>
              <a:gd name="connsiteX3" fmla="*/ 8073404 w 8073404"/>
              <a:gd name="connsiteY3" fmla="*/ 0 h 1703641"/>
              <a:gd name="connsiteX0" fmla="*/ 0 w 8073404"/>
              <a:gd name="connsiteY0" fmla="*/ 1703641 h 1703641"/>
              <a:gd name="connsiteX1" fmla="*/ 3320869 w 8073404"/>
              <a:gd name="connsiteY1" fmla="*/ 1300591 h 1703641"/>
              <a:gd name="connsiteX2" fmla="*/ 5772666 w 8073404"/>
              <a:gd name="connsiteY2" fmla="*/ 838478 h 1703641"/>
              <a:gd name="connsiteX3" fmla="*/ 8073404 w 8073404"/>
              <a:gd name="connsiteY3" fmla="*/ 0 h 1703641"/>
              <a:gd name="connsiteX0" fmla="*/ 0 w 8053084"/>
              <a:gd name="connsiteY0" fmla="*/ 1713801 h 1713801"/>
              <a:gd name="connsiteX1" fmla="*/ 3320869 w 8053084"/>
              <a:gd name="connsiteY1" fmla="*/ 1310751 h 1713801"/>
              <a:gd name="connsiteX2" fmla="*/ 5772666 w 8053084"/>
              <a:gd name="connsiteY2" fmla="*/ 848638 h 1713801"/>
              <a:gd name="connsiteX3" fmla="*/ 8053084 w 8053084"/>
              <a:gd name="connsiteY3" fmla="*/ 0 h 1713801"/>
              <a:gd name="connsiteX0" fmla="*/ 0 w 8053084"/>
              <a:gd name="connsiteY0" fmla="*/ 1723961 h 1723961"/>
              <a:gd name="connsiteX1" fmla="*/ 3320869 w 8053084"/>
              <a:gd name="connsiteY1" fmla="*/ 1320911 h 1723961"/>
              <a:gd name="connsiteX2" fmla="*/ 5772666 w 8053084"/>
              <a:gd name="connsiteY2" fmla="*/ 858798 h 1723961"/>
              <a:gd name="connsiteX3" fmla="*/ 8053084 w 8053084"/>
              <a:gd name="connsiteY3" fmla="*/ 0 h 1723961"/>
            </a:gdLst>
            <a:ahLst/>
            <a:cxnLst>
              <a:cxn ang="0">
                <a:pos x="connsiteX0" y="connsiteY0"/>
              </a:cxn>
              <a:cxn ang="0">
                <a:pos x="connsiteX1" y="connsiteY1"/>
              </a:cxn>
              <a:cxn ang="0">
                <a:pos x="connsiteX2" y="connsiteY2"/>
              </a:cxn>
              <a:cxn ang="0">
                <a:pos x="connsiteX3" y="connsiteY3"/>
              </a:cxn>
            </a:cxnLst>
            <a:rect l="l" t="t" r="r" b="b"/>
            <a:pathLst>
              <a:path w="8053084" h="1723961">
                <a:moveTo>
                  <a:pt x="0" y="1723961"/>
                </a:moveTo>
                <a:cubicBezTo>
                  <a:pt x="1113730" y="1592998"/>
                  <a:pt x="2186819" y="1492514"/>
                  <a:pt x="3320869" y="1320911"/>
                </a:cubicBezTo>
                <a:lnTo>
                  <a:pt x="5772666" y="858798"/>
                </a:lnTo>
                <a:cubicBezTo>
                  <a:pt x="6568272" y="705057"/>
                  <a:pt x="7635799" y="337513"/>
                  <a:pt x="8053084" y="0"/>
                </a:cubicBezTo>
              </a:path>
            </a:pathLst>
          </a:custGeom>
          <a:noFill/>
          <a:ln w="95250">
            <a:solidFill>
              <a:srgbClr val="00A69A">
                <a:alpha val="27000"/>
              </a:srgbClr>
            </a:solidFill>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95" name="フリーフォーム: 図形 94">
            <a:extLst>
              <a:ext uri="{FF2B5EF4-FFF2-40B4-BE49-F238E27FC236}">
                <a16:creationId xmlns:a16="http://schemas.microsoft.com/office/drawing/2014/main" id="{1B72CC9F-BBA7-4F1E-9A63-1166B960EA6B}"/>
              </a:ext>
            </a:extLst>
          </p:cNvPr>
          <p:cNvSpPr/>
          <p:nvPr/>
        </p:nvSpPr>
        <p:spPr>
          <a:xfrm>
            <a:off x="3780559" y="3161398"/>
            <a:ext cx="7029046" cy="2103790"/>
          </a:xfrm>
          <a:custGeom>
            <a:avLst/>
            <a:gdLst>
              <a:gd name="connsiteX0" fmla="*/ 0 w 7475974"/>
              <a:gd name="connsiteY0" fmla="*/ 1798655 h 1798655"/>
              <a:gd name="connsiteX1" fmla="*/ 3004457 w 7475974"/>
              <a:gd name="connsiteY1" fmla="*/ 1286189 h 1798655"/>
              <a:gd name="connsiteX2" fmla="*/ 5526593 w 7475974"/>
              <a:gd name="connsiteY2" fmla="*/ 964641 h 1798655"/>
              <a:gd name="connsiteX3" fmla="*/ 7475974 w 7475974"/>
              <a:gd name="connsiteY3" fmla="*/ 0 h 1798655"/>
              <a:gd name="connsiteX0" fmla="*/ 0 w 7465926"/>
              <a:gd name="connsiteY0" fmla="*/ 1768510 h 1768510"/>
              <a:gd name="connsiteX1" fmla="*/ 3004457 w 7465926"/>
              <a:gd name="connsiteY1" fmla="*/ 1256044 h 1768510"/>
              <a:gd name="connsiteX2" fmla="*/ 5526593 w 7465926"/>
              <a:gd name="connsiteY2" fmla="*/ 934496 h 1768510"/>
              <a:gd name="connsiteX3" fmla="*/ 7465926 w 7465926"/>
              <a:gd name="connsiteY3" fmla="*/ 0 h 1768510"/>
              <a:gd name="connsiteX0" fmla="*/ 0 w 7465926"/>
              <a:gd name="connsiteY0" fmla="*/ 1768510 h 1768510"/>
              <a:gd name="connsiteX1" fmla="*/ 3004457 w 7465926"/>
              <a:gd name="connsiteY1" fmla="*/ 1256044 h 1768510"/>
              <a:gd name="connsiteX2" fmla="*/ 5526593 w 7465926"/>
              <a:gd name="connsiteY2" fmla="*/ 934496 h 1768510"/>
              <a:gd name="connsiteX3" fmla="*/ 7465926 w 7465926"/>
              <a:gd name="connsiteY3" fmla="*/ 0 h 1768510"/>
              <a:gd name="connsiteX0" fmla="*/ 0 w 7465926"/>
              <a:gd name="connsiteY0" fmla="*/ 1768510 h 1768510"/>
              <a:gd name="connsiteX1" fmla="*/ 3004457 w 7465926"/>
              <a:gd name="connsiteY1" fmla="*/ 1256044 h 1768510"/>
              <a:gd name="connsiteX2" fmla="*/ 5446206 w 7465926"/>
              <a:gd name="connsiteY2" fmla="*/ 813916 h 1768510"/>
              <a:gd name="connsiteX3" fmla="*/ 7465926 w 7465926"/>
              <a:gd name="connsiteY3" fmla="*/ 0 h 1768510"/>
              <a:gd name="connsiteX0" fmla="*/ 0 w 7465926"/>
              <a:gd name="connsiteY0" fmla="*/ 1768510 h 1768510"/>
              <a:gd name="connsiteX1" fmla="*/ 3004457 w 7465926"/>
              <a:gd name="connsiteY1" fmla="*/ 1256044 h 1768510"/>
              <a:gd name="connsiteX2" fmla="*/ 5446206 w 7465926"/>
              <a:gd name="connsiteY2" fmla="*/ 844061 h 1768510"/>
              <a:gd name="connsiteX3" fmla="*/ 7465926 w 7465926"/>
              <a:gd name="connsiteY3" fmla="*/ 0 h 1768510"/>
              <a:gd name="connsiteX0" fmla="*/ 0 w 7465926"/>
              <a:gd name="connsiteY0" fmla="*/ 1768510 h 1768510"/>
              <a:gd name="connsiteX1" fmla="*/ 3004457 w 7465926"/>
              <a:gd name="connsiteY1" fmla="*/ 1256044 h 1768510"/>
              <a:gd name="connsiteX2" fmla="*/ 5446206 w 7465926"/>
              <a:gd name="connsiteY2" fmla="*/ 823741 h 1768510"/>
              <a:gd name="connsiteX3" fmla="*/ 7465926 w 7465926"/>
              <a:gd name="connsiteY3" fmla="*/ 0 h 1768510"/>
              <a:gd name="connsiteX0" fmla="*/ 0 w 7465926"/>
              <a:gd name="connsiteY0" fmla="*/ 1768510 h 1768510"/>
              <a:gd name="connsiteX1" fmla="*/ 3004457 w 7465926"/>
              <a:gd name="connsiteY1" fmla="*/ 1256044 h 1768510"/>
              <a:gd name="connsiteX2" fmla="*/ 5446206 w 7465926"/>
              <a:gd name="connsiteY2" fmla="*/ 823741 h 1768510"/>
              <a:gd name="connsiteX3" fmla="*/ 7465926 w 7465926"/>
              <a:gd name="connsiteY3" fmla="*/ 0 h 1768510"/>
              <a:gd name="connsiteX0" fmla="*/ 0 w 7465926"/>
              <a:gd name="connsiteY0" fmla="*/ 1768510 h 1768510"/>
              <a:gd name="connsiteX1" fmla="*/ 3004457 w 7465926"/>
              <a:gd name="connsiteY1" fmla="*/ 1256044 h 1768510"/>
              <a:gd name="connsiteX2" fmla="*/ 5446206 w 7465926"/>
              <a:gd name="connsiteY2" fmla="*/ 823741 h 1768510"/>
              <a:gd name="connsiteX3" fmla="*/ 7465926 w 7465926"/>
              <a:gd name="connsiteY3" fmla="*/ 0 h 1768510"/>
              <a:gd name="connsiteX0" fmla="*/ 0 w 7465926"/>
              <a:gd name="connsiteY0" fmla="*/ 1768510 h 1768510"/>
              <a:gd name="connsiteX1" fmla="*/ 3004457 w 7465926"/>
              <a:gd name="connsiteY1" fmla="*/ 1256044 h 1768510"/>
              <a:gd name="connsiteX2" fmla="*/ 5446206 w 7465926"/>
              <a:gd name="connsiteY2" fmla="*/ 823741 h 1768510"/>
              <a:gd name="connsiteX3" fmla="*/ 7465926 w 7465926"/>
              <a:gd name="connsiteY3" fmla="*/ 0 h 1768510"/>
              <a:gd name="connsiteX0" fmla="*/ 0 w 6927446"/>
              <a:gd name="connsiteY0" fmla="*/ 1829470 h 1829470"/>
              <a:gd name="connsiteX1" fmla="*/ 2465977 w 6927446"/>
              <a:gd name="connsiteY1" fmla="*/ 1256044 h 1829470"/>
              <a:gd name="connsiteX2" fmla="*/ 4907726 w 6927446"/>
              <a:gd name="connsiteY2" fmla="*/ 823741 h 1829470"/>
              <a:gd name="connsiteX3" fmla="*/ 6927446 w 6927446"/>
              <a:gd name="connsiteY3" fmla="*/ 0 h 1829470"/>
              <a:gd name="connsiteX0" fmla="*/ 0 w 6927446"/>
              <a:gd name="connsiteY0" fmla="*/ 1829470 h 1829470"/>
              <a:gd name="connsiteX1" fmla="*/ 2465977 w 6927446"/>
              <a:gd name="connsiteY1" fmla="*/ 1347484 h 1829470"/>
              <a:gd name="connsiteX2" fmla="*/ 4907726 w 6927446"/>
              <a:gd name="connsiteY2" fmla="*/ 823741 h 1829470"/>
              <a:gd name="connsiteX3" fmla="*/ 6927446 w 6927446"/>
              <a:gd name="connsiteY3" fmla="*/ 0 h 1829470"/>
              <a:gd name="connsiteX0" fmla="*/ 0 w 6927446"/>
              <a:gd name="connsiteY0" fmla="*/ 1829470 h 1829470"/>
              <a:gd name="connsiteX1" fmla="*/ 2465977 w 6927446"/>
              <a:gd name="connsiteY1" fmla="*/ 1347484 h 1829470"/>
              <a:gd name="connsiteX2" fmla="*/ 4907726 w 6927446"/>
              <a:gd name="connsiteY2" fmla="*/ 823741 h 1829470"/>
              <a:gd name="connsiteX3" fmla="*/ 6927446 w 6927446"/>
              <a:gd name="connsiteY3" fmla="*/ 0 h 1829470"/>
              <a:gd name="connsiteX0" fmla="*/ 0 w 6947766"/>
              <a:gd name="connsiteY0" fmla="*/ 1758350 h 1758350"/>
              <a:gd name="connsiteX1" fmla="*/ 2486297 w 6947766"/>
              <a:gd name="connsiteY1" fmla="*/ 1347484 h 1758350"/>
              <a:gd name="connsiteX2" fmla="*/ 4928046 w 6947766"/>
              <a:gd name="connsiteY2" fmla="*/ 823741 h 1758350"/>
              <a:gd name="connsiteX3" fmla="*/ 6947766 w 6947766"/>
              <a:gd name="connsiteY3" fmla="*/ 0 h 1758350"/>
              <a:gd name="connsiteX0" fmla="*/ 0 w 6947766"/>
              <a:gd name="connsiteY0" fmla="*/ 1666910 h 1666910"/>
              <a:gd name="connsiteX1" fmla="*/ 2486297 w 6947766"/>
              <a:gd name="connsiteY1" fmla="*/ 1347484 h 1666910"/>
              <a:gd name="connsiteX2" fmla="*/ 4928046 w 6947766"/>
              <a:gd name="connsiteY2" fmla="*/ 823741 h 1666910"/>
              <a:gd name="connsiteX3" fmla="*/ 6947766 w 6947766"/>
              <a:gd name="connsiteY3" fmla="*/ 0 h 1666910"/>
              <a:gd name="connsiteX0" fmla="*/ 0 w 6947766"/>
              <a:gd name="connsiteY0" fmla="*/ 1636430 h 1636430"/>
              <a:gd name="connsiteX1" fmla="*/ 2486297 w 6947766"/>
              <a:gd name="connsiteY1" fmla="*/ 1347484 h 1636430"/>
              <a:gd name="connsiteX2" fmla="*/ 4928046 w 6947766"/>
              <a:gd name="connsiteY2" fmla="*/ 823741 h 1636430"/>
              <a:gd name="connsiteX3" fmla="*/ 6947766 w 6947766"/>
              <a:gd name="connsiteY3" fmla="*/ 0 h 1636430"/>
              <a:gd name="connsiteX0" fmla="*/ 0 w 6947766"/>
              <a:gd name="connsiteY0" fmla="*/ 1636430 h 1636430"/>
              <a:gd name="connsiteX1" fmla="*/ 2486297 w 6947766"/>
              <a:gd name="connsiteY1" fmla="*/ 1347484 h 1636430"/>
              <a:gd name="connsiteX2" fmla="*/ 4928046 w 6947766"/>
              <a:gd name="connsiteY2" fmla="*/ 823741 h 1636430"/>
              <a:gd name="connsiteX3" fmla="*/ 6947766 w 6947766"/>
              <a:gd name="connsiteY3" fmla="*/ 0 h 1636430"/>
              <a:gd name="connsiteX0" fmla="*/ 0 w 6947766"/>
              <a:gd name="connsiteY0" fmla="*/ 1636430 h 1636430"/>
              <a:gd name="connsiteX1" fmla="*/ 2486297 w 6947766"/>
              <a:gd name="connsiteY1" fmla="*/ 1266204 h 1636430"/>
              <a:gd name="connsiteX2" fmla="*/ 4928046 w 6947766"/>
              <a:gd name="connsiteY2" fmla="*/ 823741 h 1636430"/>
              <a:gd name="connsiteX3" fmla="*/ 6947766 w 6947766"/>
              <a:gd name="connsiteY3" fmla="*/ 0 h 1636430"/>
              <a:gd name="connsiteX0" fmla="*/ 0 w 6947766"/>
              <a:gd name="connsiteY0" fmla="*/ 1636430 h 1636430"/>
              <a:gd name="connsiteX1" fmla="*/ 2486297 w 6947766"/>
              <a:gd name="connsiteY1" fmla="*/ 1266204 h 1636430"/>
              <a:gd name="connsiteX2" fmla="*/ 4897566 w 6947766"/>
              <a:gd name="connsiteY2" fmla="*/ 742461 h 1636430"/>
              <a:gd name="connsiteX3" fmla="*/ 6947766 w 6947766"/>
              <a:gd name="connsiteY3" fmla="*/ 0 h 1636430"/>
              <a:gd name="connsiteX0" fmla="*/ 0 w 6947766"/>
              <a:gd name="connsiteY0" fmla="*/ 1636430 h 1636430"/>
              <a:gd name="connsiteX1" fmla="*/ 2486297 w 6947766"/>
              <a:gd name="connsiteY1" fmla="*/ 1266204 h 1636430"/>
              <a:gd name="connsiteX2" fmla="*/ 4897566 w 6947766"/>
              <a:gd name="connsiteY2" fmla="*/ 742461 h 1636430"/>
              <a:gd name="connsiteX3" fmla="*/ 6947766 w 6947766"/>
              <a:gd name="connsiteY3" fmla="*/ 0 h 1636430"/>
              <a:gd name="connsiteX0" fmla="*/ 0 w 6907126"/>
              <a:gd name="connsiteY0" fmla="*/ 1636430 h 1636430"/>
              <a:gd name="connsiteX1" fmla="*/ 2486297 w 6907126"/>
              <a:gd name="connsiteY1" fmla="*/ 1266204 h 1636430"/>
              <a:gd name="connsiteX2" fmla="*/ 4897566 w 6907126"/>
              <a:gd name="connsiteY2" fmla="*/ 742461 h 1636430"/>
              <a:gd name="connsiteX3" fmla="*/ 6907126 w 6907126"/>
              <a:gd name="connsiteY3" fmla="*/ 0 h 1636430"/>
              <a:gd name="connsiteX0" fmla="*/ 0 w 6825846"/>
              <a:gd name="connsiteY0" fmla="*/ 2113950 h 2113950"/>
              <a:gd name="connsiteX1" fmla="*/ 2486297 w 6825846"/>
              <a:gd name="connsiteY1" fmla="*/ 1743724 h 2113950"/>
              <a:gd name="connsiteX2" fmla="*/ 489756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89756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19966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19966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5046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5046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5046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5046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17934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113950 h 2113950"/>
              <a:gd name="connsiteX1" fmla="*/ 2486297 w 6825846"/>
              <a:gd name="connsiteY1" fmla="*/ 1743724 h 2113950"/>
              <a:gd name="connsiteX2" fmla="*/ 4765486 w 6825846"/>
              <a:gd name="connsiteY2" fmla="*/ 1219981 h 2113950"/>
              <a:gd name="connsiteX3" fmla="*/ 6825846 w 6825846"/>
              <a:gd name="connsiteY3" fmla="*/ 0 h 2113950"/>
              <a:gd name="connsiteX0" fmla="*/ 0 w 6825846"/>
              <a:gd name="connsiteY0" fmla="*/ 2093630 h 2093630"/>
              <a:gd name="connsiteX1" fmla="*/ 2486297 w 6825846"/>
              <a:gd name="connsiteY1" fmla="*/ 1723404 h 2093630"/>
              <a:gd name="connsiteX2" fmla="*/ 4765486 w 6825846"/>
              <a:gd name="connsiteY2" fmla="*/ 1199661 h 2093630"/>
              <a:gd name="connsiteX3" fmla="*/ 6825846 w 6825846"/>
              <a:gd name="connsiteY3" fmla="*/ 0 h 2093630"/>
              <a:gd name="connsiteX0" fmla="*/ 0 w 6836006"/>
              <a:gd name="connsiteY0" fmla="*/ 2103790 h 2103790"/>
              <a:gd name="connsiteX1" fmla="*/ 2486297 w 6836006"/>
              <a:gd name="connsiteY1" fmla="*/ 1733564 h 2103790"/>
              <a:gd name="connsiteX2" fmla="*/ 4765486 w 6836006"/>
              <a:gd name="connsiteY2" fmla="*/ 1209821 h 2103790"/>
              <a:gd name="connsiteX3" fmla="*/ 6836006 w 6836006"/>
              <a:gd name="connsiteY3" fmla="*/ 0 h 2103790"/>
              <a:gd name="connsiteX0" fmla="*/ 0 w 7029046"/>
              <a:gd name="connsiteY0" fmla="*/ 2103790 h 2103790"/>
              <a:gd name="connsiteX1" fmla="*/ 2679337 w 7029046"/>
              <a:gd name="connsiteY1" fmla="*/ 1733564 h 2103790"/>
              <a:gd name="connsiteX2" fmla="*/ 4958526 w 7029046"/>
              <a:gd name="connsiteY2" fmla="*/ 1209821 h 2103790"/>
              <a:gd name="connsiteX3" fmla="*/ 7029046 w 7029046"/>
              <a:gd name="connsiteY3" fmla="*/ 0 h 2103790"/>
            </a:gdLst>
            <a:ahLst/>
            <a:cxnLst>
              <a:cxn ang="0">
                <a:pos x="connsiteX0" y="connsiteY0"/>
              </a:cxn>
              <a:cxn ang="0">
                <a:pos x="connsiteX1" y="connsiteY1"/>
              </a:cxn>
              <a:cxn ang="0">
                <a:pos x="connsiteX2" y="connsiteY2"/>
              </a:cxn>
              <a:cxn ang="0">
                <a:pos x="connsiteX3" y="connsiteY3"/>
              </a:cxn>
            </a:cxnLst>
            <a:rect l="l" t="t" r="r" b="b"/>
            <a:pathLst>
              <a:path w="7029046" h="2103790">
                <a:moveTo>
                  <a:pt x="0" y="2103790"/>
                </a:moveTo>
                <a:cubicBezTo>
                  <a:pt x="821992" y="2004088"/>
                  <a:pt x="1852916" y="1882559"/>
                  <a:pt x="2679337" y="1733564"/>
                </a:cubicBezTo>
                <a:cubicBezTo>
                  <a:pt x="3505758" y="1584569"/>
                  <a:pt x="4162473" y="1424186"/>
                  <a:pt x="4958526" y="1209821"/>
                </a:cubicBezTo>
                <a:cubicBezTo>
                  <a:pt x="5896819" y="924336"/>
                  <a:pt x="6142502" y="842498"/>
                  <a:pt x="7029046" y="0"/>
                </a:cubicBezTo>
              </a:path>
            </a:pathLst>
          </a:custGeom>
          <a:noFill/>
          <a:ln w="95250">
            <a:solidFill>
              <a:srgbClr val="00A69A">
                <a:alpha val="27000"/>
              </a:srgbClr>
            </a:solidFill>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96" name="フリーフォーム: 図形 95">
            <a:extLst>
              <a:ext uri="{FF2B5EF4-FFF2-40B4-BE49-F238E27FC236}">
                <a16:creationId xmlns:a16="http://schemas.microsoft.com/office/drawing/2014/main" id="{DD85E68F-AAD5-4DB3-9769-891F8AAAA2C4}"/>
              </a:ext>
            </a:extLst>
          </p:cNvPr>
          <p:cNvSpPr/>
          <p:nvPr/>
        </p:nvSpPr>
        <p:spPr>
          <a:xfrm>
            <a:off x="5023318" y="3356945"/>
            <a:ext cx="6210597" cy="2712801"/>
          </a:xfrm>
          <a:custGeom>
            <a:avLst/>
            <a:gdLst>
              <a:gd name="connsiteX0" fmla="*/ 0 w 6209881"/>
              <a:gd name="connsiteY0" fmla="*/ 2150348 h 2150348"/>
              <a:gd name="connsiteX1" fmla="*/ 3587261 w 6209881"/>
              <a:gd name="connsiteY1" fmla="*/ 1597688 h 2150348"/>
              <a:gd name="connsiteX2" fmla="*/ 5395965 w 6209881"/>
              <a:gd name="connsiteY2" fmla="*/ 844062 h 2150348"/>
              <a:gd name="connsiteX3" fmla="*/ 6209881 w 6209881"/>
              <a:gd name="connsiteY3" fmla="*/ 0 h 2150348"/>
              <a:gd name="connsiteX0" fmla="*/ 0 w 6270171"/>
              <a:gd name="connsiteY0" fmla="*/ 2059913 h 2059913"/>
              <a:gd name="connsiteX1" fmla="*/ 3587261 w 6270171"/>
              <a:gd name="connsiteY1" fmla="*/ 1507253 h 2059913"/>
              <a:gd name="connsiteX2" fmla="*/ 5395965 w 6270171"/>
              <a:gd name="connsiteY2" fmla="*/ 753627 h 2059913"/>
              <a:gd name="connsiteX3" fmla="*/ 6270171 w 6270171"/>
              <a:gd name="connsiteY3" fmla="*/ 0 h 2059913"/>
              <a:gd name="connsiteX0" fmla="*/ 0 w 6330461"/>
              <a:gd name="connsiteY0" fmla="*/ 2552282 h 2552282"/>
              <a:gd name="connsiteX1" fmla="*/ 3647551 w 6330461"/>
              <a:gd name="connsiteY1" fmla="*/ 1507253 h 2552282"/>
              <a:gd name="connsiteX2" fmla="*/ 5456255 w 6330461"/>
              <a:gd name="connsiteY2" fmla="*/ 753627 h 2552282"/>
              <a:gd name="connsiteX3" fmla="*/ 6330461 w 6330461"/>
              <a:gd name="connsiteY3" fmla="*/ 0 h 2552282"/>
              <a:gd name="connsiteX0" fmla="*/ 0 w 6330461"/>
              <a:gd name="connsiteY0" fmla="*/ 2552282 h 2552282"/>
              <a:gd name="connsiteX1" fmla="*/ 3647551 w 6330461"/>
              <a:gd name="connsiteY1" fmla="*/ 1507253 h 2552282"/>
              <a:gd name="connsiteX2" fmla="*/ 5456255 w 6330461"/>
              <a:gd name="connsiteY2" fmla="*/ 753627 h 2552282"/>
              <a:gd name="connsiteX3" fmla="*/ 6330461 w 6330461"/>
              <a:gd name="connsiteY3" fmla="*/ 0 h 2552282"/>
              <a:gd name="connsiteX0" fmla="*/ 0 w 6330461"/>
              <a:gd name="connsiteY0" fmla="*/ 2552282 h 2552282"/>
              <a:gd name="connsiteX1" fmla="*/ 3607358 w 6330461"/>
              <a:gd name="connsiteY1" fmla="*/ 1597688 h 2552282"/>
              <a:gd name="connsiteX2" fmla="*/ 5456255 w 6330461"/>
              <a:gd name="connsiteY2" fmla="*/ 753627 h 2552282"/>
              <a:gd name="connsiteX3" fmla="*/ 6330461 w 6330461"/>
              <a:gd name="connsiteY3" fmla="*/ 0 h 2552282"/>
              <a:gd name="connsiteX0" fmla="*/ 0 w 4835043"/>
              <a:gd name="connsiteY0" fmla="*/ 2201448 h 2201448"/>
              <a:gd name="connsiteX1" fmla="*/ 2111940 w 4835043"/>
              <a:gd name="connsiteY1" fmla="*/ 1597688 h 2201448"/>
              <a:gd name="connsiteX2" fmla="*/ 3960837 w 4835043"/>
              <a:gd name="connsiteY2" fmla="*/ 753627 h 2201448"/>
              <a:gd name="connsiteX3" fmla="*/ 4835043 w 4835043"/>
              <a:gd name="connsiteY3" fmla="*/ 0 h 2201448"/>
              <a:gd name="connsiteX0" fmla="*/ 0 w 4936772"/>
              <a:gd name="connsiteY0" fmla="*/ 2121257 h 2121257"/>
              <a:gd name="connsiteX1" fmla="*/ 2213669 w 4936772"/>
              <a:gd name="connsiteY1" fmla="*/ 1597688 h 2121257"/>
              <a:gd name="connsiteX2" fmla="*/ 4062566 w 4936772"/>
              <a:gd name="connsiteY2" fmla="*/ 753627 h 2121257"/>
              <a:gd name="connsiteX3" fmla="*/ 4936772 w 4936772"/>
              <a:gd name="connsiteY3" fmla="*/ 0 h 2121257"/>
              <a:gd name="connsiteX0" fmla="*/ 0 w 4936772"/>
              <a:gd name="connsiteY0" fmla="*/ 2121257 h 2121257"/>
              <a:gd name="connsiteX1" fmla="*/ 2213669 w 4936772"/>
              <a:gd name="connsiteY1" fmla="*/ 1537545 h 2121257"/>
              <a:gd name="connsiteX2" fmla="*/ 4062566 w 4936772"/>
              <a:gd name="connsiteY2" fmla="*/ 753627 h 2121257"/>
              <a:gd name="connsiteX3" fmla="*/ 4936772 w 4936772"/>
              <a:gd name="connsiteY3" fmla="*/ 0 h 2121257"/>
              <a:gd name="connsiteX0" fmla="*/ 0 w 4936772"/>
              <a:gd name="connsiteY0" fmla="*/ 2121257 h 2121257"/>
              <a:gd name="connsiteX1" fmla="*/ 2213669 w 4936772"/>
              <a:gd name="connsiteY1" fmla="*/ 1537545 h 2121257"/>
              <a:gd name="connsiteX2" fmla="*/ 4062566 w 4936772"/>
              <a:gd name="connsiteY2" fmla="*/ 753627 h 2121257"/>
              <a:gd name="connsiteX3" fmla="*/ 4936772 w 4936772"/>
              <a:gd name="connsiteY3" fmla="*/ 0 h 2121257"/>
              <a:gd name="connsiteX0" fmla="*/ 0 w 4926599"/>
              <a:gd name="connsiteY0" fmla="*/ 2261591 h 2261591"/>
              <a:gd name="connsiteX1" fmla="*/ 2203496 w 4926599"/>
              <a:gd name="connsiteY1" fmla="*/ 1537545 h 2261591"/>
              <a:gd name="connsiteX2" fmla="*/ 4052393 w 4926599"/>
              <a:gd name="connsiteY2" fmla="*/ 753627 h 2261591"/>
              <a:gd name="connsiteX3" fmla="*/ 4926599 w 4926599"/>
              <a:gd name="connsiteY3" fmla="*/ 0 h 2261591"/>
              <a:gd name="connsiteX0" fmla="*/ 0 w 4926599"/>
              <a:gd name="connsiteY0" fmla="*/ 2261591 h 2261591"/>
              <a:gd name="connsiteX1" fmla="*/ 2203496 w 4926599"/>
              <a:gd name="connsiteY1" fmla="*/ 1587664 h 2261591"/>
              <a:gd name="connsiteX2" fmla="*/ 4052393 w 4926599"/>
              <a:gd name="connsiteY2" fmla="*/ 753627 h 2261591"/>
              <a:gd name="connsiteX3" fmla="*/ 4926599 w 4926599"/>
              <a:gd name="connsiteY3" fmla="*/ 0 h 2261591"/>
              <a:gd name="connsiteX0" fmla="*/ 0 w 4926599"/>
              <a:gd name="connsiteY0" fmla="*/ 2261591 h 2261591"/>
              <a:gd name="connsiteX1" fmla="*/ 2203496 w 4926599"/>
              <a:gd name="connsiteY1" fmla="*/ 1587664 h 2261591"/>
              <a:gd name="connsiteX2" fmla="*/ 4052393 w 4926599"/>
              <a:gd name="connsiteY2" fmla="*/ 753627 h 2261591"/>
              <a:gd name="connsiteX3" fmla="*/ 4926599 w 4926599"/>
              <a:gd name="connsiteY3" fmla="*/ 0 h 2261591"/>
              <a:gd name="connsiteX0" fmla="*/ 0 w 4926599"/>
              <a:gd name="connsiteY0" fmla="*/ 2261591 h 2261591"/>
              <a:gd name="connsiteX1" fmla="*/ 2203496 w 4926599"/>
              <a:gd name="connsiteY1" fmla="*/ 1587664 h 2261591"/>
              <a:gd name="connsiteX2" fmla="*/ 4052393 w 4926599"/>
              <a:gd name="connsiteY2" fmla="*/ 753627 h 2261591"/>
              <a:gd name="connsiteX3" fmla="*/ 4926599 w 4926599"/>
              <a:gd name="connsiteY3" fmla="*/ 0 h 2261591"/>
              <a:gd name="connsiteX0" fmla="*/ 0 w 5626734"/>
              <a:gd name="connsiteY0" fmla="*/ 2341192 h 2341192"/>
              <a:gd name="connsiteX1" fmla="*/ 2903631 w 5626734"/>
              <a:gd name="connsiteY1" fmla="*/ 1587664 h 2341192"/>
              <a:gd name="connsiteX2" fmla="*/ 4752528 w 5626734"/>
              <a:gd name="connsiteY2" fmla="*/ 753627 h 2341192"/>
              <a:gd name="connsiteX3" fmla="*/ 5626734 w 5626734"/>
              <a:gd name="connsiteY3" fmla="*/ 0 h 2341192"/>
              <a:gd name="connsiteX0" fmla="*/ 0 w 5708117"/>
              <a:gd name="connsiteY0" fmla="*/ 2100620 h 2100620"/>
              <a:gd name="connsiteX1" fmla="*/ 2985014 w 5708117"/>
              <a:gd name="connsiteY1" fmla="*/ 1587664 h 2100620"/>
              <a:gd name="connsiteX2" fmla="*/ 4833911 w 5708117"/>
              <a:gd name="connsiteY2" fmla="*/ 753627 h 2100620"/>
              <a:gd name="connsiteX3" fmla="*/ 5708117 w 5708117"/>
              <a:gd name="connsiteY3" fmla="*/ 0 h 2100620"/>
              <a:gd name="connsiteX0" fmla="*/ 0 w 5708117"/>
              <a:gd name="connsiteY0" fmla="*/ 2100620 h 2100620"/>
              <a:gd name="connsiteX1" fmla="*/ 2954495 w 5708117"/>
              <a:gd name="connsiteY1" fmla="*/ 1477402 h 2100620"/>
              <a:gd name="connsiteX2" fmla="*/ 4833911 w 5708117"/>
              <a:gd name="connsiteY2" fmla="*/ 753627 h 2100620"/>
              <a:gd name="connsiteX3" fmla="*/ 5708117 w 5708117"/>
              <a:gd name="connsiteY3" fmla="*/ 0 h 2100620"/>
              <a:gd name="connsiteX0" fmla="*/ 0 w 5708117"/>
              <a:gd name="connsiteY0" fmla="*/ 2210882 h 2210882"/>
              <a:gd name="connsiteX1" fmla="*/ 2954495 w 5708117"/>
              <a:gd name="connsiteY1" fmla="*/ 1477402 h 2210882"/>
              <a:gd name="connsiteX2" fmla="*/ 4833911 w 5708117"/>
              <a:gd name="connsiteY2" fmla="*/ 753627 h 2210882"/>
              <a:gd name="connsiteX3" fmla="*/ 5708117 w 5708117"/>
              <a:gd name="connsiteY3" fmla="*/ 0 h 2210882"/>
              <a:gd name="connsiteX0" fmla="*/ 0 w 5738636"/>
              <a:gd name="connsiteY0" fmla="*/ 2090596 h 2090596"/>
              <a:gd name="connsiteX1" fmla="*/ 2985014 w 5738636"/>
              <a:gd name="connsiteY1" fmla="*/ 1477402 h 2090596"/>
              <a:gd name="connsiteX2" fmla="*/ 4864430 w 5738636"/>
              <a:gd name="connsiteY2" fmla="*/ 753627 h 2090596"/>
              <a:gd name="connsiteX3" fmla="*/ 5738636 w 5738636"/>
              <a:gd name="connsiteY3" fmla="*/ 0 h 2090596"/>
              <a:gd name="connsiteX0" fmla="*/ 0 w 5738636"/>
              <a:gd name="connsiteY0" fmla="*/ 2090596 h 2090596"/>
              <a:gd name="connsiteX1" fmla="*/ 2883285 w 5738636"/>
              <a:gd name="connsiteY1" fmla="*/ 1357116 h 2090596"/>
              <a:gd name="connsiteX2" fmla="*/ 4864430 w 5738636"/>
              <a:gd name="connsiteY2" fmla="*/ 753627 h 2090596"/>
              <a:gd name="connsiteX3" fmla="*/ 5738636 w 5738636"/>
              <a:gd name="connsiteY3" fmla="*/ 0 h 2090596"/>
              <a:gd name="connsiteX0" fmla="*/ 0 w 5738636"/>
              <a:gd name="connsiteY0" fmla="*/ 2090596 h 2090596"/>
              <a:gd name="connsiteX1" fmla="*/ 2883285 w 5738636"/>
              <a:gd name="connsiteY1" fmla="*/ 1357116 h 2090596"/>
              <a:gd name="connsiteX2" fmla="*/ 4793220 w 5738636"/>
              <a:gd name="connsiteY2" fmla="*/ 703508 h 2090596"/>
              <a:gd name="connsiteX3" fmla="*/ 5738636 w 5738636"/>
              <a:gd name="connsiteY3" fmla="*/ 0 h 2090596"/>
              <a:gd name="connsiteX0" fmla="*/ 0 w 5738636"/>
              <a:gd name="connsiteY0" fmla="*/ 2090596 h 2090596"/>
              <a:gd name="connsiteX1" fmla="*/ 2883285 w 5738636"/>
              <a:gd name="connsiteY1" fmla="*/ 1357116 h 2090596"/>
              <a:gd name="connsiteX2" fmla="*/ 4793220 w 5738636"/>
              <a:gd name="connsiteY2" fmla="*/ 703508 h 2090596"/>
              <a:gd name="connsiteX3" fmla="*/ 5738636 w 5738636"/>
              <a:gd name="connsiteY3" fmla="*/ 0 h 2090596"/>
              <a:gd name="connsiteX0" fmla="*/ 0 w 5738636"/>
              <a:gd name="connsiteY0" fmla="*/ 2090596 h 2090596"/>
              <a:gd name="connsiteX1" fmla="*/ 2883285 w 5738636"/>
              <a:gd name="connsiteY1" fmla="*/ 1357116 h 2090596"/>
              <a:gd name="connsiteX2" fmla="*/ 4793220 w 5738636"/>
              <a:gd name="connsiteY2" fmla="*/ 703508 h 2090596"/>
              <a:gd name="connsiteX3" fmla="*/ 5738636 w 5738636"/>
              <a:gd name="connsiteY3" fmla="*/ 0 h 2090596"/>
              <a:gd name="connsiteX0" fmla="*/ 0 w 5657253"/>
              <a:gd name="connsiteY0" fmla="*/ 2631883 h 2631883"/>
              <a:gd name="connsiteX1" fmla="*/ 2883285 w 5657253"/>
              <a:gd name="connsiteY1" fmla="*/ 1898403 h 2631883"/>
              <a:gd name="connsiteX2" fmla="*/ 4793220 w 5657253"/>
              <a:gd name="connsiteY2" fmla="*/ 1244795 h 2631883"/>
              <a:gd name="connsiteX3" fmla="*/ 5657253 w 5657253"/>
              <a:gd name="connsiteY3" fmla="*/ 0 h 2631883"/>
              <a:gd name="connsiteX0" fmla="*/ 0 w 5657253"/>
              <a:gd name="connsiteY0" fmla="*/ 2671978 h 2671978"/>
              <a:gd name="connsiteX1" fmla="*/ 2883285 w 5657253"/>
              <a:gd name="connsiteY1" fmla="*/ 1938498 h 2671978"/>
              <a:gd name="connsiteX2" fmla="*/ 4793220 w 5657253"/>
              <a:gd name="connsiteY2" fmla="*/ 1284890 h 2671978"/>
              <a:gd name="connsiteX3" fmla="*/ 5657253 w 5657253"/>
              <a:gd name="connsiteY3" fmla="*/ 0 h 2671978"/>
              <a:gd name="connsiteX0" fmla="*/ 0 w 5657253"/>
              <a:gd name="connsiteY0" fmla="*/ 2671978 h 2671978"/>
              <a:gd name="connsiteX1" fmla="*/ 2883285 w 5657253"/>
              <a:gd name="connsiteY1" fmla="*/ 1938498 h 2671978"/>
              <a:gd name="connsiteX2" fmla="*/ 4701664 w 5657253"/>
              <a:gd name="connsiteY2" fmla="*/ 1154580 h 2671978"/>
              <a:gd name="connsiteX3" fmla="*/ 5657253 w 5657253"/>
              <a:gd name="connsiteY3" fmla="*/ 0 h 2671978"/>
              <a:gd name="connsiteX0" fmla="*/ 0 w 5657253"/>
              <a:gd name="connsiteY0" fmla="*/ 2671978 h 2671978"/>
              <a:gd name="connsiteX1" fmla="*/ 2883285 w 5657253"/>
              <a:gd name="connsiteY1" fmla="*/ 1938498 h 2671978"/>
              <a:gd name="connsiteX2" fmla="*/ 4701664 w 5657253"/>
              <a:gd name="connsiteY2" fmla="*/ 1214723 h 2671978"/>
              <a:gd name="connsiteX3" fmla="*/ 5657253 w 5657253"/>
              <a:gd name="connsiteY3" fmla="*/ 0 h 2671978"/>
              <a:gd name="connsiteX0" fmla="*/ 0 w 5657253"/>
              <a:gd name="connsiteY0" fmla="*/ 2671978 h 2671978"/>
              <a:gd name="connsiteX1" fmla="*/ 2842593 w 5657253"/>
              <a:gd name="connsiteY1" fmla="*/ 1918450 h 2671978"/>
              <a:gd name="connsiteX2" fmla="*/ 4701664 w 5657253"/>
              <a:gd name="connsiteY2" fmla="*/ 1214723 h 2671978"/>
              <a:gd name="connsiteX3" fmla="*/ 5657253 w 5657253"/>
              <a:gd name="connsiteY3" fmla="*/ 0 h 2671978"/>
              <a:gd name="connsiteX0" fmla="*/ 0 w 5657253"/>
              <a:gd name="connsiteY0" fmla="*/ 2671978 h 2671978"/>
              <a:gd name="connsiteX1" fmla="*/ 2842593 w 5657253"/>
              <a:gd name="connsiteY1" fmla="*/ 1938498 h 2671978"/>
              <a:gd name="connsiteX2" fmla="*/ 4701664 w 5657253"/>
              <a:gd name="connsiteY2" fmla="*/ 1214723 h 2671978"/>
              <a:gd name="connsiteX3" fmla="*/ 5657253 w 5657253"/>
              <a:gd name="connsiteY3" fmla="*/ 0 h 2671978"/>
              <a:gd name="connsiteX0" fmla="*/ 0 w 5657253"/>
              <a:gd name="connsiteY0" fmla="*/ 2671978 h 2671978"/>
              <a:gd name="connsiteX1" fmla="*/ 2842593 w 5657253"/>
              <a:gd name="connsiteY1" fmla="*/ 1938498 h 2671978"/>
              <a:gd name="connsiteX2" fmla="*/ 4660973 w 5657253"/>
              <a:gd name="connsiteY2" fmla="*/ 1194676 h 2671978"/>
              <a:gd name="connsiteX3" fmla="*/ 5657253 w 5657253"/>
              <a:gd name="connsiteY3" fmla="*/ 0 h 2671978"/>
              <a:gd name="connsiteX0" fmla="*/ 0 w 5626734"/>
              <a:gd name="connsiteY0" fmla="*/ 2872455 h 2872455"/>
              <a:gd name="connsiteX1" fmla="*/ 2812074 w 5626734"/>
              <a:gd name="connsiteY1" fmla="*/ 1938498 h 2872455"/>
              <a:gd name="connsiteX2" fmla="*/ 4630454 w 5626734"/>
              <a:gd name="connsiteY2" fmla="*/ 1194676 h 2872455"/>
              <a:gd name="connsiteX3" fmla="*/ 5626734 w 5626734"/>
              <a:gd name="connsiteY3" fmla="*/ 0 h 2872455"/>
              <a:gd name="connsiteX0" fmla="*/ 0 w 5626734"/>
              <a:gd name="connsiteY0" fmla="*/ 2872455 h 2872455"/>
              <a:gd name="connsiteX1" fmla="*/ 2964668 w 5626734"/>
              <a:gd name="connsiteY1" fmla="*/ 2108904 h 2872455"/>
              <a:gd name="connsiteX2" fmla="*/ 4630454 w 5626734"/>
              <a:gd name="connsiteY2" fmla="*/ 1194676 h 2872455"/>
              <a:gd name="connsiteX3" fmla="*/ 5626734 w 5626734"/>
              <a:gd name="connsiteY3" fmla="*/ 0 h 2872455"/>
              <a:gd name="connsiteX0" fmla="*/ 0 w 5636907"/>
              <a:gd name="connsiteY0" fmla="*/ 2962669 h 2962669"/>
              <a:gd name="connsiteX1" fmla="*/ 2974841 w 5636907"/>
              <a:gd name="connsiteY1" fmla="*/ 2108904 h 2962669"/>
              <a:gd name="connsiteX2" fmla="*/ 4640627 w 5636907"/>
              <a:gd name="connsiteY2" fmla="*/ 1194676 h 2962669"/>
              <a:gd name="connsiteX3" fmla="*/ 5636907 w 5636907"/>
              <a:gd name="connsiteY3" fmla="*/ 0 h 2962669"/>
              <a:gd name="connsiteX0" fmla="*/ 0 w 5636907"/>
              <a:gd name="connsiteY0" fmla="*/ 2962669 h 2962669"/>
              <a:gd name="connsiteX1" fmla="*/ 2974841 w 5636907"/>
              <a:gd name="connsiteY1" fmla="*/ 2108904 h 2962669"/>
              <a:gd name="connsiteX2" fmla="*/ 4640627 w 5636907"/>
              <a:gd name="connsiteY2" fmla="*/ 1194676 h 2962669"/>
              <a:gd name="connsiteX3" fmla="*/ 5636907 w 5636907"/>
              <a:gd name="connsiteY3" fmla="*/ 0 h 2962669"/>
              <a:gd name="connsiteX0" fmla="*/ 0 w 5636907"/>
              <a:gd name="connsiteY0" fmla="*/ 2962669 h 2962669"/>
              <a:gd name="connsiteX1" fmla="*/ 2974841 w 5636907"/>
              <a:gd name="connsiteY1" fmla="*/ 2108904 h 2962669"/>
              <a:gd name="connsiteX2" fmla="*/ 4640627 w 5636907"/>
              <a:gd name="connsiteY2" fmla="*/ 1194676 h 2962669"/>
              <a:gd name="connsiteX3" fmla="*/ 5636907 w 5636907"/>
              <a:gd name="connsiteY3" fmla="*/ 0 h 2962669"/>
              <a:gd name="connsiteX0" fmla="*/ 0 w 5636907"/>
              <a:gd name="connsiteY0" fmla="*/ 2962669 h 2962669"/>
              <a:gd name="connsiteX1" fmla="*/ 2974841 w 5636907"/>
              <a:gd name="connsiteY1" fmla="*/ 2108904 h 2962669"/>
              <a:gd name="connsiteX2" fmla="*/ 4640627 w 5636907"/>
              <a:gd name="connsiteY2" fmla="*/ 1194676 h 2962669"/>
              <a:gd name="connsiteX3" fmla="*/ 5636907 w 5636907"/>
              <a:gd name="connsiteY3" fmla="*/ 0 h 2962669"/>
              <a:gd name="connsiteX0" fmla="*/ 0 w 5636907"/>
              <a:gd name="connsiteY0" fmla="*/ 2942621 h 2942621"/>
              <a:gd name="connsiteX1" fmla="*/ 2974841 w 5636907"/>
              <a:gd name="connsiteY1" fmla="*/ 2088856 h 2942621"/>
              <a:gd name="connsiteX2" fmla="*/ 4640627 w 5636907"/>
              <a:gd name="connsiteY2" fmla="*/ 1174628 h 2942621"/>
              <a:gd name="connsiteX3" fmla="*/ 5636907 w 5636907"/>
              <a:gd name="connsiteY3" fmla="*/ 0 h 2942621"/>
              <a:gd name="connsiteX0" fmla="*/ 0 w 5901403"/>
              <a:gd name="connsiteY0" fmla="*/ 2932597 h 2932597"/>
              <a:gd name="connsiteX1" fmla="*/ 3239337 w 5901403"/>
              <a:gd name="connsiteY1" fmla="*/ 2088856 h 2932597"/>
              <a:gd name="connsiteX2" fmla="*/ 4905123 w 5901403"/>
              <a:gd name="connsiteY2" fmla="*/ 1174628 h 2932597"/>
              <a:gd name="connsiteX3" fmla="*/ 5901403 w 5901403"/>
              <a:gd name="connsiteY3" fmla="*/ 0 h 2932597"/>
              <a:gd name="connsiteX0" fmla="*/ 0 w 6012888"/>
              <a:gd name="connsiteY0" fmla="*/ 2942674 h 2942674"/>
              <a:gd name="connsiteX1" fmla="*/ 3350822 w 6012888"/>
              <a:gd name="connsiteY1" fmla="*/ 2088856 h 2942674"/>
              <a:gd name="connsiteX2" fmla="*/ 5016608 w 6012888"/>
              <a:gd name="connsiteY2" fmla="*/ 1174628 h 2942674"/>
              <a:gd name="connsiteX3" fmla="*/ 6012888 w 6012888"/>
              <a:gd name="connsiteY3" fmla="*/ 0 h 2942674"/>
              <a:gd name="connsiteX0" fmla="*/ 0 w 6154778"/>
              <a:gd name="connsiteY0" fmla="*/ 2942674 h 2942674"/>
              <a:gd name="connsiteX1" fmla="*/ 3492712 w 6154778"/>
              <a:gd name="connsiteY1" fmla="*/ 2088856 h 2942674"/>
              <a:gd name="connsiteX2" fmla="*/ 5158498 w 6154778"/>
              <a:gd name="connsiteY2" fmla="*/ 1174628 h 2942674"/>
              <a:gd name="connsiteX3" fmla="*/ 6154778 w 6154778"/>
              <a:gd name="connsiteY3" fmla="*/ 0 h 2942674"/>
              <a:gd name="connsiteX0" fmla="*/ 0 w 6195318"/>
              <a:gd name="connsiteY0" fmla="*/ 2690740 h 2690740"/>
              <a:gd name="connsiteX1" fmla="*/ 3533252 w 6195318"/>
              <a:gd name="connsiteY1" fmla="*/ 2088856 h 2690740"/>
              <a:gd name="connsiteX2" fmla="*/ 5199038 w 6195318"/>
              <a:gd name="connsiteY2" fmla="*/ 1174628 h 2690740"/>
              <a:gd name="connsiteX3" fmla="*/ 6195318 w 6195318"/>
              <a:gd name="connsiteY3" fmla="*/ 0 h 2690740"/>
              <a:gd name="connsiteX0" fmla="*/ 0 w 6195318"/>
              <a:gd name="connsiteY0" fmla="*/ 2690740 h 2690740"/>
              <a:gd name="connsiteX1" fmla="*/ 3533252 w 6195318"/>
              <a:gd name="connsiteY1" fmla="*/ 2088856 h 2690740"/>
              <a:gd name="connsiteX2" fmla="*/ 5199038 w 6195318"/>
              <a:gd name="connsiteY2" fmla="*/ 1174628 h 2690740"/>
              <a:gd name="connsiteX3" fmla="*/ 6195318 w 6195318"/>
              <a:gd name="connsiteY3" fmla="*/ 0 h 2690740"/>
              <a:gd name="connsiteX0" fmla="*/ 0 w 6195318"/>
              <a:gd name="connsiteY0" fmla="*/ 2690740 h 2690740"/>
              <a:gd name="connsiteX1" fmla="*/ 3462307 w 6195318"/>
              <a:gd name="connsiteY1" fmla="*/ 1978005 h 2690740"/>
              <a:gd name="connsiteX2" fmla="*/ 5199038 w 6195318"/>
              <a:gd name="connsiteY2" fmla="*/ 1174628 h 2690740"/>
              <a:gd name="connsiteX3" fmla="*/ 6195318 w 6195318"/>
              <a:gd name="connsiteY3" fmla="*/ 0 h 2690740"/>
              <a:gd name="connsiteX0" fmla="*/ 0 w 6195318"/>
              <a:gd name="connsiteY0" fmla="*/ 2690740 h 2690740"/>
              <a:gd name="connsiteX1" fmla="*/ 3462307 w 6195318"/>
              <a:gd name="connsiteY1" fmla="*/ 1978005 h 2690740"/>
              <a:gd name="connsiteX2" fmla="*/ 5199038 w 6195318"/>
              <a:gd name="connsiteY2" fmla="*/ 1174628 h 2690740"/>
              <a:gd name="connsiteX3" fmla="*/ 6195318 w 6195318"/>
              <a:gd name="connsiteY3" fmla="*/ 0 h 2690740"/>
              <a:gd name="connsiteX0" fmla="*/ 0 w 6195318"/>
              <a:gd name="connsiteY0" fmla="*/ 2690740 h 2690740"/>
              <a:gd name="connsiteX1" fmla="*/ 3391362 w 6195318"/>
              <a:gd name="connsiteY1" fmla="*/ 1937695 h 2690740"/>
              <a:gd name="connsiteX2" fmla="*/ 5199038 w 6195318"/>
              <a:gd name="connsiteY2" fmla="*/ 1174628 h 2690740"/>
              <a:gd name="connsiteX3" fmla="*/ 6195318 w 6195318"/>
              <a:gd name="connsiteY3" fmla="*/ 0 h 2690740"/>
              <a:gd name="connsiteX0" fmla="*/ 0 w 6195318"/>
              <a:gd name="connsiteY0" fmla="*/ 2690740 h 2690740"/>
              <a:gd name="connsiteX1" fmla="*/ 3391362 w 6195318"/>
              <a:gd name="connsiteY1" fmla="*/ 1937695 h 2690740"/>
              <a:gd name="connsiteX2" fmla="*/ 5199038 w 6195318"/>
              <a:gd name="connsiteY2" fmla="*/ 1174628 h 2690740"/>
              <a:gd name="connsiteX3" fmla="*/ 6195318 w 6195318"/>
              <a:gd name="connsiteY3" fmla="*/ 0 h 2690740"/>
              <a:gd name="connsiteX0" fmla="*/ 0 w 6195318"/>
              <a:gd name="connsiteY0" fmla="*/ 2690740 h 2690740"/>
              <a:gd name="connsiteX1" fmla="*/ 3391362 w 6195318"/>
              <a:gd name="connsiteY1" fmla="*/ 1937695 h 2690740"/>
              <a:gd name="connsiteX2" fmla="*/ 5148363 w 6195318"/>
              <a:gd name="connsiteY2" fmla="*/ 1134319 h 2690740"/>
              <a:gd name="connsiteX3" fmla="*/ 6195318 w 6195318"/>
              <a:gd name="connsiteY3" fmla="*/ 0 h 2690740"/>
              <a:gd name="connsiteX0" fmla="*/ 0 w 6195318"/>
              <a:gd name="connsiteY0" fmla="*/ 2690740 h 2690740"/>
              <a:gd name="connsiteX1" fmla="*/ 3391362 w 6195318"/>
              <a:gd name="connsiteY1" fmla="*/ 1937695 h 2690740"/>
              <a:gd name="connsiteX2" fmla="*/ 5148363 w 6195318"/>
              <a:gd name="connsiteY2" fmla="*/ 1134319 h 2690740"/>
              <a:gd name="connsiteX3" fmla="*/ 6195318 w 6195318"/>
              <a:gd name="connsiteY3" fmla="*/ 0 h 2690740"/>
            </a:gdLst>
            <a:ahLst/>
            <a:cxnLst>
              <a:cxn ang="0">
                <a:pos x="connsiteX0" y="connsiteY0"/>
              </a:cxn>
              <a:cxn ang="0">
                <a:pos x="connsiteX1" y="connsiteY1"/>
              </a:cxn>
              <a:cxn ang="0">
                <a:pos x="connsiteX2" y="connsiteY2"/>
              </a:cxn>
              <a:cxn ang="0">
                <a:pos x="connsiteX3" y="connsiteY3"/>
              </a:cxn>
            </a:cxnLst>
            <a:rect l="l" t="t" r="r" b="b"/>
            <a:pathLst>
              <a:path w="6195318" h="2690740">
                <a:moveTo>
                  <a:pt x="0" y="2690740"/>
                </a:moveTo>
                <a:cubicBezTo>
                  <a:pt x="1394453" y="2413085"/>
                  <a:pt x="2533301" y="2197099"/>
                  <a:pt x="3391362" y="1937695"/>
                </a:cubicBezTo>
                <a:cubicBezTo>
                  <a:pt x="4249423" y="1678291"/>
                  <a:pt x="4660471" y="1460636"/>
                  <a:pt x="5148363" y="1134319"/>
                </a:cubicBezTo>
                <a:cubicBezTo>
                  <a:pt x="5585466" y="787848"/>
                  <a:pt x="6006911" y="288890"/>
                  <a:pt x="6195318" y="0"/>
                </a:cubicBezTo>
              </a:path>
            </a:pathLst>
          </a:custGeom>
          <a:noFill/>
          <a:ln w="95250">
            <a:solidFill>
              <a:srgbClr val="00A69A">
                <a:alpha val="27000"/>
              </a:srgbClr>
            </a:solidFill>
            <a:tailEnd type="stealth"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pic>
        <p:nvPicPr>
          <p:cNvPr id="97" name="object 38">
            <a:extLst>
              <a:ext uri="{FF2B5EF4-FFF2-40B4-BE49-F238E27FC236}">
                <a16:creationId xmlns:a16="http://schemas.microsoft.com/office/drawing/2014/main" id="{B8201B79-C907-497E-BB73-D71778791477}"/>
              </a:ext>
            </a:extLst>
          </p:cNvPr>
          <p:cNvPicPr/>
          <p:nvPr/>
        </p:nvPicPr>
        <p:blipFill>
          <a:blip r:embed="rId8" cstate="print">
            <a:extLst>
              <a:ext uri="{28A0092B-C50C-407E-A947-70E740481C1C}">
                <a14:useLocalDpi xmlns:a14="http://schemas.microsoft.com/office/drawing/2010/main"/>
              </a:ext>
            </a:extLst>
          </a:blip>
          <a:stretch>
            <a:fillRect/>
          </a:stretch>
        </p:blipFill>
        <p:spPr>
          <a:xfrm>
            <a:off x="4097882" y="1493996"/>
            <a:ext cx="2330984" cy="816641"/>
          </a:xfrm>
          <a:prstGeom prst="rect">
            <a:avLst/>
          </a:prstGeom>
        </p:spPr>
      </p:pic>
      <p:pic>
        <p:nvPicPr>
          <p:cNvPr id="98" name="object 39">
            <a:extLst>
              <a:ext uri="{FF2B5EF4-FFF2-40B4-BE49-F238E27FC236}">
                <a16:creationId xmlns:a16="http://schemas.microsoft.com/office/drawing/2014/main" id="{50870F85-53A8-4D28-8366-5FC1D44C3DC6}"/>
              </a:ext>
            </a:extLst>
          </p:cNvPr>
          <p:cNvPicPr/>
          <p:nvPr/>
        </p:nvPicPr>
        <p:blipFill>
          <a:blip r:embed="rId9" cstate="print">
            <a:extLst>
              <a:ext uri="{28A0092B-C50C-407E-A947-70E740481C1C}">
                <a14:useLocalDpi xmlns:a14="http://schemas.microsoft.com/office/drawing/2010/main"/>
              </a:ext>
            </a:extLst>
          </a:blip>
          <a:stretch>
            <a:fillRect/>
          </a:stretch>
        </p:blipFill>
        <p:spPr>
          <a:xfrm>
            <a:off x="4990029" y="1554466"/>
            <a:ext cx="551569" cy="178253"/>
          </a:xfrm>
          <a:prstGeom prst="rect">
            <a:avLst/>
          </a:prstGeom>
        </p:spPr>
      </p:pic>
      <p:sp>
        <p:nvSpPr>
          <p:cNvPr id="99" name="object 40">
            <a:extLst>
              <a:ext uri="{FF2B5EF4-FFF2-40B4-BE49-F238E27FC236}">
                <a16:creationId xmlns:a16="http://schemas.microsoft.com/office/drawing/2014/main" id="{4F5B3684-D1B2-4C87-9C77-18791FDB7918}"/>
              </a:ext>
            </a:extLst>
          </p:cNvPr>
          <p:cNvSpPr txBox="1"/>
          <p:nvPr/>
        </p:nvSpPr>
        <p:spPr>
          <a:xfrm>
            <a:off x="4932974" y="1528698"/>
            <a:ext cx="664229" cy="201978"/>
          </a:xfrm>
          <a:prstGeom prst="rect">
            <a:avLst/>
          </a:prstGeom>
        </p:spPr>
        <p:txBody>
          <a:bodyPr vert="horz" wrap="square" lIns="0" tIns="40005" rIns="0" bIns="0" rtlCol="0">
            <a:spAutoFit/>
          </a:bodyPr>
          <a:lstStyle/>
          <a:p>
            <a:pPr marL="11430" marR="0" lvl="0" indent="0" algn="ctr" defTabSz="914400" eaLnBrk="1" fontAlgn="auto" latinLnBrk="0" hangingPunct="1">
              <a:lnSpc>
                <a:spcPct val="100000"/>
              </a:lnSpc>
              <a:spcBef>
                <a:spcPts val="315"/>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0</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00" name="テキスト ボックス 99">
            <a:extLst>
              <a:ext uri="{FF2B5EF4-FFF2-40B4-BE49-F238E27FC236}">
                <a16:creationId xmlns:a16="http://schemas.microsoft.com/office/drawing/2014/main" id="{A894FD8F-9028-4376-A9DA-12CF1D77B98A}"/>
              </a:ext>
            </a:extLst>
          </p:cNvPr>
          <p:cNvSpPr txBox="1"/>
          <p:nvPr/>
        </p:nvSpPr>
        <p:spPr>
          <a:xfrm>
            <a:off x="4022775" y="1717969"/>
            <a:ext cx="2457987" cy="623248"/>
          </a:xfrm>
          <a:prstGeom prst="rect">
            <a:avLst/>
          </a:prstGeom>
          <a:noFill/>
        </p:spPr>
        <p:txBody>
          <a:bodyPr wrap="square">
            <a:spAutoFit/>
          </a:bodyPr>
          <a:lstStyle/>
          <a:p>
            <a:pPr marL="0" marR="0" lvl="0" indent="0" algn="ctr" defTabSz="914400" eaLnBrk="1" fontAlgn="auto" latinLnBrk="0" hangingPunct="1">
              <a:lnSpc>
                <a:spcPct val="100000"/>
              </a:lnSpc>
              <a:spcBef>
                <a:spcPts val="280"/>
              </a:spcBef>
              <a:spcAft>
                <a:spcPts val="0"/>
              </a:spcAft>
              <a:buClrTx/>
              <a:buSzTx/>
              <a:buFontTx/>
              <a:buNone/>
              <a:tabLst/>
              <a:defRPr/>
            </a:pPr>
            <a:r>
              <a:rPr kumimoji="0" lang="en-US" altLang="ja-JP" sz="1400" b="1" i="0" u="none" strike="noStrike" kern="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LNG/</a:t>
            </a:r>
            <a:r>
              <a:rPr kumimoji="0" lang="ja-JP" altLang="en-US" sz="1400" b="1" i="0" u="none" strike="noStrike" kern="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メタノール燃料外航船</a:t>
            </a:r>
            <a:endParaRPr kumimoji="0" lang="en-US" altLang="ja-JP" sz="1400" b="1" i="0" u="none" strike="noStrike" kern="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endParaRPr>
          </a:p>
          <a:p>
            <a:pPr marL="0" marR="0" lvl="0" indent="0" algn="ctr" defTabSz="914400" eaLnBrk="1" fontAlgn="auto" latinLnBrk="0" hangingPunct="1">
              <a:lnSpc>
                <a:spcPct val="100000"/>
              </a:lnSpc>
              <a:spcBef>
                <a:spcPts val="280"/>
              </a:spcBef>
              <a:spcAft>
                <a:spcPts val="0"/>
              </a:spcAft>
              <a:buClrTx/>
              <a:buSzTx/>
              <a:buFontTx/>
              <a:buNone/>
              <a:tabLst/>
              <a:defRPr/>
            </a:pPr>
            <a:r>
              <a:rPr kumimoji="0" lang="en-US" altLang="ja-JP" sz="1800" b="1" i="0" u="none" strike="noStrike" kern="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90</a:t>
            </a:r>
            <a:r>
              <a:rPr kumimoji="0" lang="ja-JP" altLang="en-US" sz="1800" b="1" i="0" u="none" strike="noStrike" kern="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隻</a:t>
            </a:r>
            <a:endParaRPr kumimoji="0" lang="ja-JP" altLang="en-US" sz="180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01" name="四角形: 角を丸くする 100">
            <a:extLst>
              <a:ext uri="{FF2B5EF4-FFF2-40B4-BE49-F238E27FC236}">
                <a16:creationId xmlns:a16="http://schemas.microsoft.com/office/drawing/2014/main" id="{4984487C-92CE-4843-A2C5-72A50487C8C8}"/>
              </a:ext>
            </a:extLst>
          </p:cNvPr>
          <p:cNvSpPr/>
          <p:nvPr/>
        </p:nvSpPr>
        <p:spPr>
          <a:xfrm>
            <a:off x="354936" y="1732719"/>
            <a:ext cx="1080000" cy="2122082"/>
          </a:xfrm>
          <a:prstGeom prst="roundRect">
            <a:avLst/>
          </a:prstGeom>
          <a:solidFill>
            <a:srgbClr val="DDF5FF"/>
          </a:solidFill>
          <a:ln>
            <a:noFill/>
          </a:ln>
          <a:effectLst>
            <a:outerShdw blurRad="50800" dist="38100" dir="8100000" sx="102000" sy="102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pic>
        <p:nvPicPr>
          <p:cNvPr id="102" name="object 61">
            <a:extLst>
              <a:ext uri="{FF2B5EF4-FFF2-40B4-BE49-F238E27FC236}">
                <a16:creationId xmlns:a16="http://schemas.microsoft.com/office/drawing/2014/main" id="{AD6B46EE-BB55-49DC-93D7-71506F156114}"/>
              </a:ext>
            </a:extLst>
          </p:cNvPr>
          <p:cNvPicPr/>
          <p:nvPr/>
        </p:nvPicPr>
        <p:blipFill>
          <a:blip r:embed="rId10" cstate="print">
            <a:alphaModFix amt="50000"/>
            <a:extLst>
              <a:ext uri="{28A0092B-C50C-407E-A947-70E740481C1C}">
                <a14:useLocalDpi xmlns:a14="http://schemas.microsoft.com/office/drawing/2010/main"/>
              </a:ext>
            </a:extLst>
          </a:blip>
          <a:stretch>
            <a:fillRect/>
          </a:stretch>
        </p:blipFill>
        <p:spPr>
          <a:xfrm>
            <a:off x="653467" y="2280395"/>
            <a:ext cx="504000" cy="557783"/>
          </a:xfrm>
          <a:prstGeom prst="rect">
            <a:avLst/>
          </a:prstGeom>
          <a:solidFill>
            <a:srgbClr val="DDF5FF"/>
          </a:solidFill>
        </p:spPr>
      </p:pic>
      <p:sp>
        <p:nvSpPr>
          <p:cNvPr id="103" name="四角形: 角を丸くする 102">
            <a:extLst>
              <a:ext uri="{FF2B5EF4-FFF2-40B4-BE49-F238E27FC236}">
                <a16:creationId xmlns:a16="http://schemas.microsoft.com/office/drawing/2014/main" id="{F735931B-BD3E-46F9-A1B2-B2E23A299766}"/>
              </a:ext>
            </a:extLst>
          </p:cNvPr>
          <p:cNvSpPr/>
          <p:nvPr/>
        </p:nvSpPr>
        <p:spPr>
          <a:xfrm>
            <a:off x="1470190" y="3884883"/>
            <a:ext cx="1080000" cy="1302894"/>
          </a:xfrm>
          <a:prstGeom prst="roundRect">
            <a:avLst/>
          </a:prstGeom>
          <a:solidFill>
            <a:srgbClr val="DDF5FF"/>
          </a:solidFill>
          <a:ln>
            <a:noFill/>
          </a:ln>
          <a:effectLst>
            <a:outerShdw blurRad="50800" dist="38100" dir="8100000" sx="102000" sy="102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pic>
        <p:nvPicPr>
          <p:cNvPr id="104" name="object 64">
            <a:extLst>
              <a:ext uri="{FF2B5EF4-FFF2-40B4-BE49-F238E27FC236}">
                <a16:creationId xmlns:a16="http://schemas.microsoft.com/office/drawing/2014/main" id="{916413FA-D47E-46E3-A71E-7317FF805FB2}"/>
              </a:ext>
            </a:extLst>
          </p:cNvPr>
          <p:cNvPicPr/>
          <p:nvPr/>
        </p:nvPicPr>
        <p:blipFill>
          <a:blip r:embed="rId11" cstate="print">
            <a:alphaModFix amt="50000"/>
            <a:extLst>
              <a:ext uri="{28A0092B-C50C-407E-A947-70E740481C1C}">
                <a14:useLocalDpi xmlns:a14="http://schemas.microsoft.com/office/drawing/2010/main"/>
              </a:ext>
            </a:extLst>
          </a:blip>
          <a:stretch>
            <a:fillRect/>
          </a:stretch>
        </p:blipFill>
        <p:spPr>
          <a:xfrm>
            <a:off x="1767057" y="4012182"/>
            <a:ext cx="500400" cy="558000"/>
          </a:xfrm>
          <a:prstGeom prst="rect">
            <a:avLst/>
          </a:prstGeom>
          <a:solidFill>
            <a:srgbClr val="DDF5FF"/>
          </a:solidFill>
        </p:spPr>
      </p:pic>
      <p:sp>
        <p:nvSpPr>
          <p:cNvPr id="105" name="四角形: 角を丸くする 104">
            <a:extLst>
              <a:ext uri="{FF2B5EF4-FFF2-40B4-BE49-F238E27FC236}">
                <a16:creationId xmlns:a16="http://schemas.microsoft.com/office/drawing/2014/main" id="{7C681F05-72D7-45AD-977A-894BA14CA9CE}"/>
              </a:ext>
            </a:extLst>
          </p:cNvPr>
          <p:cNvSpPr/>
          <p:nvPr/>
        </p:nvSpPr>
        <p:spPr>
          <a:xfrm>
            <a:off x="2765173" y="4839375"/>
            <a:ext cx="1080000" cy="1302894"/>
          </a:xfrm>
          <a:prstGeom prst="roundRect">
            <a:avLst/>
          </a:prstGeom>
          <a:solidFill>
            <a:srgbClr val="DDF5FF"/>
          </a:solidFill>
          <a:ln>
            <a:noFill/>
          </a:ln>
          <a:effectLst>
            <a:outerShdw blurRad="50800" dist="38100" dir="8100000" sx="102000" sy="102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106" name="object 58">
            <a:extLst>
              <a:ext uri="{FF2B5EF4-FFF2-40B4-BE49-F238E27FC236}">
                <a16:creationId xmlns:a16="http://schemas.microsoft.com/office/drawing/2014/main" id="{E49D821E-F094-40E2-9AD7-FD76A34973A1}"/>
              </a:ext>
            </a:extLst>
          </p:cNvPr>
          <p:cNvSpPr txBox="1"/>
          <p:nvPr/>
        </p:nvSpPr>
        <p:spPr>
          <a:xfrm>
            <a:off x="2849107" y="5573521"/>
            <a:ext cx="918604" cy="368691"/>
          </a:xfrm>
          <a:prstGeom prst="rect">
            <a:avLst/>
          </a:prstGeom>
        </p:spPr>
        <p:txBody>
          <a:bodyPr vert="horz" wrap="square" lIns="0" tIns="17145" rIns="0" bIns="0" rtlCol="0">
            <a:spAutoFit/>
          </a:bodyPr>
          <a:lstStyle/>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err="1">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効率</a:t>
            </a:r>
            <a:endParaRPr kumimoji="0" sz="1100" b="0" i="0" u="none" strike="noStrike" kern="0" cap="none" spc="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a:p>
            <a:pPr marL="0" marR="0" lvl="0" indent="0" algn="ctr" defTabSz="914400" eaLnBrk="1" fontAlgn="auto" latinLnBrk="0" hangingPunct="1">
              <a:lnSpc>
                <a:spcPct val="100000"/>
              </a:lnSpc>
              <a:spcBef>
                <a:spcPts val="60"/>
              </a:spcBef>
              <a:spcAft>
                <a:spcPts val="0"/>
              </a:spcAft>
              <a:buClrTx/>
              <a:buSzTx/>
              <a:buFontTx/>
              <a:buNone/>
              <a:tabLst/>
              <a:defRPr/>
            </a:pPr>
            <a:r>
              <a:rPr kumimoji="0" lang="ja-JP" altLang="en-US" sz="1100" b="1" i="0" u="none" strike="noStrike" kern="0" cap="none" spc="-70" normalizeH="0" baseline="0" noProof="0" err="1">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オペレーション</a:t>
            </a:r>
            <a:endParaRPr kumimoji="0" sz="1100" b="0" i="0" u="none" strike="noStrike" kern="0" cap="none" spc="0"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p:txBody>
      </p:sp>
      <p:pic>
        <p:nvPicPr>
          <p:cNvPr id="107" name="object 59">
            <a:extLst>
              <a:ext uri="{FF2B5EF4-FFF2-40B4-BE49-F238E27FC236}">
                <a16:creationId xmlns:a16="http://schemas.microsoft.com/office/drawing/2014/main" id="{8F020ACD-7E42-46BB-A63C-7EFD4C1A40F7}"/>
              </a:ext>
            </a:extLst>
          </p:cNvPr>
          <p:cNvPicPr/>
          <p:nvPr/>
        </p:nvPicPr>
        <p:blipFill>
          <a:blip r:embed="rId12" cstate="print">
            <a:alphaModFix amt="50000"/>
            <a:extLst>
              <a:ext uri="{28A0092B-C50C-407E-A947-70E740481C1C}">
                <a14:useLocalDpi xmlns:a14="http://schemas.microsoft.com/office/drawing/2010/main"/>
              </a:ext>
            </a:extLst>
          </a:blip>
          <a:stretch>
            <a:fillRect/>
          </a:stretch>
        </p:blipFill>
        <p:spPr>
          <a:xfrm>
            <a:off x="3063359" y="5011741"/>
            <a:ext cx="504000" cy="558000"/>
          </a:xfrm>
          <a:prstGeom prst="rect">
            <a:avLst/>
          </a:prstGeom>
          <a:solidFill>
            <a:srgbClr val="DDF5FF"/>
          </a:solidFill>
        </p:spPr>
      </p:pic>
      <p:sp>
        <p:nvSpPr>
          <p:cNvPr id="108" name="四角形: 角を丸くする 107">
            <a:extLst>
              <a:ext uri="{FF2B5EF4-FFF2-40B4-BE49-F238E27FC236}">
                <a16:creationId xmlns:a16="http://schemas.microsoft.com/office/drawing/2014/main" id="{FDEF6F11-6AD3-4544-AAA1-3DED74B90094}"/>
              </a:ext>
            </a:extLst>
          </p:cNvPr>
          <p:cNvSpPr/>
          <p:nvPr/>
        </p:nvSpPr>
        <p:spPr>
          <a:xfrm>
            <a:off x="4030854" y="5459126"/>
            <a:ext cx="1080000" cy="1299275"/>
          </a:xfrm>
          <a:prstGeom prst="roundRect">
            <a:avLst/>
          </a:prstGeom>
          <a:solidFill>
            <a:srgbClr val="DDF5FF"/>
          </a:solidFill>
          <a:ln>
            <a:noFill/>
          </a:ln>
          <a:effectLst>
            <a:outerShdw blurRad="50800" dist="38100" dir="8100000" sx="102000" sy="102000" algn="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a:ln>
                <a:noFill/>
              </a:ln>
              <a:solidFill>
                <a:srgbClr val="FFFFFF"/>
              </a:solidFill>
              <a:effectLst/>
              <a:uLnTx/>
              <a:uFillTx/>
              <a:latin typeface="Segoe UI"/>
              <a:ea typeface="游ゴシック Medium"/>
              <a:cs typeface="+mn-cs"/>
            </a:endParaRPr>
          </a:p>
        </p:txBody>
      </p:sp>
      <p:pic>
        <p:nvPicPr>
          <p:cNvPr id="109" name="object 57">
            <a:extLst>
              <a:ext uri="{FF2B5EF4-FFF2-40B4-BE49-F238E27FC236}">
                <a16:creationId xmlns:a16="http://schemas.microsoft.com/office/drawing/2014/main" id="{A88E3FF1-D656-4E1F-B822-85763E5791DF}"/>
              </a:ext>
            </a:extLst>
          </p:cNvPr>
          <p:cNvPicPr/>
          <p:nvPr/>
        </p:nvPicPr>
        <p:blipFill>
          <a:blip r:embed="rId13" cstate="print">
            <a:alphaModFix amt="50000"/>
            <a:extLst>
              <a:ext uri="{28A0092B-C50C-407E-A947-70E740481C1C}">
                <a14:useLocalDpi xmlns:a14="http://schemas.microsoft.com/office/drawing/2010/main"/>
              </a:ext>
            </a:extLst>
          </a:blip>
          <a:stretch>
            <a:fillRect/>
          </a:stretch>
        </p:blipFill>
        <p:spPr>
          <a:xfrm>
            <a:off x="4318854" y="5550763"/>
            <a:ext cx="504000" cy="558000"/>
          </a:xfrm>
          <a:prstGeom prst="rect">
            <a:avLst/>
          </a:prstGeom>
          <a:solidFill>
            <a:srgbClr val="DDF5FF"/>
          </a:solidFill>
        </p:spPr>
      </p:pic>
      <p:pic>
        <p:nvPicPr>
          <p:cNvPr id="110" name="object 16">
            <a:extLst>
              <a:ext uri="{FF2B5EF4-FFF2-40B4-BE49-F238E27FC236}">
                <a16:creationId xmlns:a16="http://schemas.microsoft.com/office/drawing/2014/main" id="{C925B353-C750-4355-9F1C-7D89C5250F1F}"/>
              </a:ext>
            </a:extLst>
          </p:cNvPr>
          <p:cNvPicPr/>
          <p:nvPr/>
        </p:nvPicPr>
        <p:blipFill>
          <a:blip r:embed="rId14" cstate="print">
            <a:extLst>
              <a:ext uri="{28A0092B-C50C-407E-A947-70E740481C1C}">
                <a14:useLocalDpi xmlns:a14="http://schemas.microsoft.com/office/drawing/2010/main"/>
              </a:ext>
            </a:extLst>
          </a:blip>
          <a:stretch>
            <a:fillRect/>
          </a:stretch>
        </p:blipFill>
        <p:spPr>
          <a:xfrm>
            <a:off x="6646924" y="4260099"/>
            <a:ext cx="1042415" cy="1042415"/>
          </a:xfrm>
          <a:prstGeom prst="rect">
            <a:avLst/>
          </a:prstGeom>
        </p:spPr>
      </p:pic>
      <p:sp>
        <p:nvSpPr>
          <p:cNvPr id="111" name="object 17">
            <a:extLst>
              <a:ext uri="{FF2B5EF4-FFF2-40B4-BE49-F238E27FC236}">
                <a16:creationId xmlns:a16="http://schemas.microsoft.com/office/drawing/2014/main" id="{3F32A303-B0A2-4A9C-ABC9-8EB197B5A0E8}"/>
              </a:ext>
            </a:extLst>
          </p:cNvPr>
          <p:cNvSpPr txBox="1"/>
          <p:nvPr/>
        </p:nvSpPr>
        <p:spPr>
          <a:xfrm>
            <a:off x="6822144" y="4620948"/>
            <a:ext cx="668020" cy="357505"/>
          </a:xfrm>
          <a:prstGeom prst="rect">
            <a:avLst/>
          </a:prstGeom>
        </p:spPr>
        <p:txBody>
          <a:bodyPr vert="horz" wrap="square" lIns="0" tIns="15875" rIns="0" bIns="0" rtlCol="0">
            <a:spAutoFit/>
          </a:bodyPr>
          <a:lstStyle/>
          <a:p>
            <a:pPr marL="12700" marR="0" lvl="0" indent="0" defTabSz="914400" eaLnBrk="1" fontAlgn="auto" latinLnBrk="0" hangingPunct="1">
              <a:lnSpc>
                <a:spcPct val="100000"/>
              </a:lnSpc>
              <a:spcBef>
                <a:spcPts val="125"/>
              </a:spcBef>
              <a:spcAft>
                <a:spcPts val="0"/>
              </a:spcAft>
              <a:buClrTx/>
              <a:buSzTx/>
              <a:buFontTx/>
              <a:buNone/>
              <a:tabLst/>
              <a:defRPr/>
            </a:pPr>
            <a:r>
              <a:rPr kumimoji="0" sz="2150" b="1" i="0" u="none" strike="noStrike" kern="0" cap="none" spc="-35"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5%</a:t>
            </a:r>
            <a:endParaRPr kumimoji="0" sz="21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12" name="object 18">
            <a:extLst>
              <a:ext uri="{FF2B5EF4-FFF2-40B4-BE49-F238E27FC236}">
                <a16:creationId xmlns:a16="http://schemas.microsoft.com/office/drawing/2014/main" id="{A2E67209-EBF8-49C2-A6A5-48DC204771D5}"/>
              </a:ext>
            </a:extLst>
          </p:cNvPr>
          <p:cNvSpPr txBox="1"/>
          <p:nvPr/>
        </p:nvSpPr>
        <p:spPr>
          <a:xfrm>
            <a:off x="6827434" y="4934993"/>
            <a:ext cx="697230" cy="178895"/>
          </a:xfrm>
          <a:prstGeom prst="rect">
            <a:avLst/>
          </a:prstGeom>
        </p:spPr>
        <p:txBody>
          <a:bodyPr vert="horz" wrap="square" lIns="0" tIns="17145" rIns="0" bIns="0" rtlCol="0">
            <a:spAutoFit/>
          </a:bodyPr>
          <a:lstStyle/>
          <a:p>
            <a:pPr marL="12700" marR="0" lvl="0" indent="0" defTabSz="914400" eaLnBrk="1" fontAlgn="auto" latinLnBrk="0" hangingPunct="1">
              <a:lnSpc>
                <a:spcPct val="100000"/>
              </a:lnSpc>
              <a:spcBef>
                <a:spcPts val="135"/>
              </a:spcBef>
              <a:spcAft>
                <a:spcPts val="0"/>
              </a:spcAft>
              <a:buClrTx/>
              <a:buSzTx/>
              <a:buFontTx/>
              <a:buNone/>
              <a:tabLst/>
              <a:defRPr/>
            </a:pPr>
            <a:r>
              <a:rPr kumimoji="0" sz="1050" b="1" i="0" u="none" strike="noStrike" kern="0" cap="none" spc="-25"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2019</a:t>
            </a:r>
            <a:r>
              <a:rPr kumimoji="0" sz="1050" b="1" i="0" u="none" strike="noStrike" kern="0" cap="none" spc="-4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年比)</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pic>
        <p:nvPicPr>
          <p:cNvPr id="113" name="object 19">
            <a:extLst>
              <a:ext uri="{FF2B5EF4-FFF2-40B4-BE49-F238E27FC236}">
                <a16:creationId xmlns:a16="http://schemas.microsoft.com/office/drawing/2014/main" id="{A9082736-61D7-4943-B729-1A55A28DFFF5}"/>
              </a:ext>
            </a:extLst>
          </p:cNvPr>
          <p:cNvPicPr/>
          <p:nvPr/>
        </p:nvPicPr>
        <p:blipFill>
          <a:blip r:embed="rId15" cstate="print">
            <a:extLst>
              <a:ext uri="{28A0092B-C50C-407E-A947-70E740481C1C}">
                <a14:useLocalDpi xmlns:a14="http://schemas.microsoft.com/office/drawing/2010/main"/>
              </a:ext>
            </a:extLst>
          </a:blip>
          <a:stretch>
            <a:fillRect/>
          </a:stretch>
        </p:blipFill>
        <p:spPr>
          <a:xfrm>
            <a:off x="6866380" y="4421643"/>
            <a:ext cx="603503" cy="170687"/>
          </a:xfrm>
          <a:prstGeom prst="rect">
            <a:avLst/>
          </a:prstGeom>
        </p:spPr>
      </p:pic>
      <p:sp>
        <p:nvSpPr>
          <p:cNvPr id="114" name="object 20">
            <a:extLst>
              <a:ext uri="{FF2B5EF4-FFF2-40B4-BE49-F238E27FC236}">
                <a16:creationId xmlns:a16="http://schemas.microsoft.com/office/drawing/2014/main" id="{11B28709-64E6-49AB-B5F6-DEFE0241E719}"/>
              </a:ext>
            </a:extLst>
          </p:cNvPr>
          <p:cNvSpPr txBox="1"/>
          <p:nvPr/>
        </p:nvSpPr>
        <p:spPr>
          <a:xfrm>
            <a:off x="6941331" y="4411229"/>
            <a:ext cx="469265" cy="178895"/>
          </a:xfrm>
          <a:prstGeom prst="rect">
            <a:avLst/>
          </a:prstGeom>
        </p:spPr>
        <p:txBody>
          <a:bodyPr vert="horz" wrap="square" lIns="0" tIns="17145" rIns="0" bIns="0" rtlCol="0">
            <a:spAutoFit/>
          </a:bodyPr>
          <a:lstStyle/>
          <a:p>
            <a:pPr marL="12700" marR="0" lvl="0" indent="0" defTabSz="914400" eaLnBrk="1" fontAlgn="auto" latinLnBrk="0" hangingPunct="1">
              <a:lnSpc>
                <a:spcPct val="100000"/>
              </a:lnSpc>
              <a:spcBef>
                <a:spcPts val="135"/>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25</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grpSp>
        <p:nvGrpSpPr>
          <p:cNvPr id="115" name="object 21">
            <a:extLst>
              <a:ext uri="{FF2B5EF4-FFF2-40B4-BE49-F238E27FC236}">
                <a16:creationId xmlns:a16="http://schemas.microsoft.com/office/drawing/2014/main" id="{CEAF84EC-EF8B-4306-844C-E299A07C08F9}"/>
              </a:ext>
            </a:extLst>
          </p:cNvPr>
          <p:cNvGrpSpPr/>
          <p:nvPr/>
        </p:nvGrpSpPr>
        <p:grpSpPr>
          <a:xfrm>
            <a:off x="7530449" y="3271293"/>
            <a:ext cx="1045844" cy="1042669"/>
            <a:chOff x="6541323" y="3450335"/>
            <a:chExt cx="1045844" cy="1042669"/>
          </a:xfrm>
        </p:grpSpPr>
        <p:pic>
          <p:nvPicPr>
            <p:cNvPr id="116" name="object 22">
              <a:extLst>
                <a:ext uri="{FF2B5EF4-FFF2-40B4-BE49-F238E27FC236}">
                  <a16:creationId xmlns:a16="http://schemas.microsoft.com/office/drawing/2014/main" id="{0F0407D7-B32C-4F8C-A117-2673976863D7}"/>
                </a:ext>
              </a:extLst>
            </p:cNvPr>
            <p:cNvPicPr/>
            <p:nvPr/>
          </p:nvPicPr>
          <p:blipFill>
            <a:blip r:embed="rId16" cstate="print">
              <a:extLst>
                <a:ext uri="{28A0092B-C50C-407E-A947-70E740481C1C}">
                  <a14:useLocalDpi xmlns:a14="http://schemas.microsoft.com/office/drawing/2010/main"/>
                </a:ext>
              </a:extLst>
            </a:blip>
            <a:stretch>
              <a:fillRect/>
            </a:stretch>
          </p:blipFill>
          <p:spPr>
            <a:xfrm>
              <a:off x="6541323" y="3450335"/>
              <a:ext cx="1045463" cy="1042415"/>
            </a:xfrm>
            <a:prstGeom prst="rect">
              <a:avLst/>
            </a:prstGeom>
          </p:spPr>
        </p:pic>
        <p:pic>
          <p:nvPicPr>
            <p:cNvPr id="117" name="object 23">
              <a:extLst>
                <a:ext uri="{FF2B5EF4-FFF2-40B4-BE49-F238E27FC236}">
                  <a16:creationId xmlns:a16="http://schemas.microsoft.com/office/drawing/2014/main" id="{35060682-278F-479E-A657-495DC3611A7C}"/>
                </a:ext>
              </a:extLst>
            </p:cNvPr>
            <p:cNvPicPr/>
            <p:nvPr/>
          </p:nvPicPr>
          <p:blipFill>
            <a:blip r:embed="rId17" cstate="print">
              <a:extLst>
                <a:ext uri="{28A0092B-C50C-407E-A947-70E740481C1C}">
                  <a14:useLocalDpi xmlns:a14="http://schemas.microsoft.com/office/drawing/2010/main"/>
                </a:ext>
              </a:extLst>
            </a:blip>
            <a:stretch>
              <a:fillRect/>
            </a:stretch>
          </p:blipFill>
          <p:spPr>
            <a:xfrm>
              <a:off x="6760778" y="3700272"/>
              <a:ext cx="603503" cy="167639"/>
            </a:xfrm>
            <a:prstGeom prst="rect">
              <a:avLst/>
            </a:prstGeom>
          </p:spPr>
        </p:pic>
      </p:grpSp>
      <p:sp>
        <p:nvSpPr>
          <p:cNvPr id="118" name="object 24">
            <a:extLst>
              <a:ext uri="{FF2B5EF4-FFF2-40B4-BE49-F238E27FC236}">
                <a16:creationId xmlns:a16="http://schemas.microsoft.com/office/drawing/2014/main" id="{915AC7AF-6BC1-49BC-B95C-E28F73E13C03}"/>
              </a:ext>
            </a:extLst>
          </p:cNvPr>
          <p:cNvSpPr txBox="1"/>
          <p:nvPr/>
        </p:nvSpPr>
        <p:spPr>
          <a:xfrm>
            <a:off x="7745594" y="3487631"/>
            <a:ext cx="590550" cy="201337"/>
          </a:xfrm>
          <a:prstGeom prst="rect">
            <a:avLst/>
          </a:prstGeom>
        </p:spPr>
        <p:txBody>
          <a:bodyPr vert="horz" wrap="square" lIns="0" tIns="39370" rIns="0" bIns="0" rtlCol="0">
            <a:spAutoFit/>
          </a:bodyPr>
          <a:lstStyle/>
          <a:p>
            <a:pPr marL="92075" marR="0" lvl="0" indent="0" defTabSz="914400" eaLnBrk="1" fontAlgn="auto" latinLnBrk="0" hangingPunct="1">
              <a:lnSpc>
                <a:spcPct val="100000"/>
              </a:lnSpc>
              <a:spcBef>
                <a:spcPts val="310"/>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0</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grpSp>
        <p:nvGrpSpPr>
          <p:cNvPr id="119" name="object 25">
            <a:extLst>
              <a:ext uri="{FF2B5EF4-FFF2-40B4-BE49-F238E27FC236}">
                <a16:creationId xmlns:a16="http://schemas.microsoft.com/office/drawing/2014/main" id="{4348D11B-BA63-4483-B249-6B91D7C0C88F}"/>
              </a:ext>
            </a:extLst>
          </p:cNvPr>
          <p:cNvGrpSpPr/>
          <p:nvPr/>
        </p:nvGrpSpPr>
        <p:grpSpPr>
          <a:xfrm>
            <a:off x="8829776" y="2959771"/>
            <a:ext cx="1042669" cy="1045844"/>
            <a:chOff x="8037890" y="3224784"/>
            <a:chExt cx="1042669" cy="1045844"/>
          </a:xfrm>
        </p:grpSpPr>
        <p:pic>
          <p:nvPicPr>
            <p:cNvPr id="120" name="object 26">
              <a:extLst>
                <a:ext uri="{FF2B5EF4-FFF2-40B4-BE49-F238E27FC236}">
                  <a16:creationId xmlns:a16="http://schemas.microsoft.com/office/drawing/2014/main" id="{FB29A450-8C14-4129-8771-CF13C0ECC961}"/>
                </a:ext>
              </a:extLst>
            </p:cNvPr>
            <p:cNvPicPr/>
            <p:nvPr/>
          </p:nvPicPr>
          <p:blipFill>
            <a:blip r:embed="rId18" cstate="print">
              <a:extLst>
                <a:ext uri="{28A0092B-C50C-407E-A947-70E740481C1C}">
                  <a14:useLocalDpi xmlns:a14="http://schemas.microsoft.com/office/drawing/2010/main"/>
                </a:ext>
              </a:extLst>
            </a:blip>
            <a:stretch>
              <a:fillRect/>
            </a:stretch>
          </p:blipFill>
          <p:spPr>
            <a:xfrm>
              <a:off x="8037890" y="3224784"/>
              <a:ext cx="1042415" cy="1045463"/>
            </a:xfrm>
            <a:prstGeom prst="rect">
              <a:avLst/>
            </a:prstGeom>
          </p:spPr>
        </p:pic>
        <p:pic>
          <p:nvPicPr>
            <p:cNvPr id="121" name="object 27">
              <a:extLst>
                <a:ext uri="{FF2B5EF4-FFF2-40B4-BE49-F238E27FC236}">
                  <a16:creationId xmlns:a16="http://schemas.microsoft.com/office/drawing/2014/main" id="{8A66C76D-DF4A-4550-A115-26A1A242153D}"/>
                </a:ext>
              </a:extLst>
            </p:cNvPr>
            <p:cNvPicPr/>
            <p:nvPr/>
          </p:nvPicPr>
          <p:blipFill>
            <a:blip r:embed="rId19" cstate="print">
              <a:extLst>
                <a:ext uri="{28A0092B-C50C-407E-A947-70E740481C1C}">
                  <a14:useLocalDpi xmlns:a14="http://schemas.microsoft.com/office/drawing/2010/main"/>
                </a:ext>
              </a:extLst>
            </a:blip>
            <a:stretch>
              <a:fillRect/>
            </a:stretch>
          </p:blipFill>
          <p:spPr>
            <a:xfrm>
              <a:off x="8257349" y="3477780"/>
              <a:ext cx="603501" cy="167627"/>
            </a:xfrm>
            <a:prstGeom prst="rect">
              <a:avLst/>
            </a:prstGeom>
          </p:spPr>
        </p:pic>
      </p:grpSp>
      <p:sp>
        <p:nvSpPr>
          <p:cNvPr id="122" name="object 28">
            <a:extLst>
              <a:ext uri="{FF2B5EF4-FFF2-40B4-BE49-F238E27FC236}">
                <a16:creationId xmlns:a16="http://schemas.microsoft.com/office/drawing/2014/main" id="{D43C1A75-D210-4147-932E-725546CCEBC1}"/>
              </a:ext>
            </a:extLst>
          </p:cNvPr>
          <p:cNvSpPr txBox="1"/>
          <p:nvPr/>
        </p:nvSpPr>
        <p:spPr>
          <a:xfrm>
            <a:off x="9035562" y="3177947"/>
            <a:ext cx="602615" cy="201337"/>
          </a:xfrm>
          <a:prstGeom prst="rect">
            <a:avLst/>
          </a:prstGeom>
        </p:spPr>
        <p:txBody>
          <a:bodyPr vert="horz" wrap="square" lIns="0" tIns="39370" rIns="0" bIns="0" rtlCol="0">
            <a:spAutoFit/>
          </a:bodyPr>
          <a:lstStyle/>
          <a:p>
            <a:pPr marL="100965" marR="0" lvl="0" indent="0" defTabSz="914400" eaLnBrk="1" fontAlgn="auto" latinLnBrk="0" hangingPunct="1">
              <a:lnSpc>
                <a:spcPct val="100000"/>
              </a:lnSpc>
              <a:spcBef>
                <a:spcPts val="310"/>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5</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pic>
        <p:nvPicPr>
          <p:cNvPr id="123" name="object 65">
            <a:extLst>
              <a:ext uri="{FF2B5EF4-FFF2-40B4-BE49-F238E27FC236}">
                <a16:creationId xmlns:a16="http://schemas.microsoft.com/office/drawing/2014/main" id="{4E2B78F5-B05E-4383-AD8B-034B9275BF68}"/>
              </a:ext>
            </a:extLst>
          </p:cNvPr>
          <p:cNvPicPr/>
          <p:nvPr/>
        </p:nvPicPr>
        <p:blipFill>
          <a:blip r:embed="rId20" cstate="print">
            <a:extLst>
              <a:ext uri="{28A0092B-C50C-407E-A947-70E740481C1C}">
                <a14:useLocalDpi xmlns:a14="http://schemas.microsoft.com/office/drawing/2010/main"/>
              </a:ext>
            </a:extLst>
          </a:blip>
          <a:stretch>
            <a:fillRect/>
          </a:stretch>
        </p:blipFill>
        <p:spPr>
          <a:xfrm>
            <a:off x="6309277" y="2124276"/>
            <a:ext cx="1045461" cy="1045451"/>
          </a:xfrm>
          <a:prstGeom prst="rect">
            <a:avLst/>
          </a:prstGeom>
        </p:spPr>
      </p:pic>
      <p:pic>
        <p:nvPicPr>
          <p:cNvPr id="124" name="object 66">
            <a:extLst>
              <a:ext uri="{FF2B5EF4-FFF2-40B4-BE49-F238E27FC236}">
                <a16:creationId xmlns:a16="http://schemas.microsoft.com/office/drawing/2014/main" id="{04178AE7-10B3-48FF-8C39-E94A712E151B}"/>
              </a:ext>
            </a:extLst>
          </p:cNvPr>
          <p:cNvPicPr/>
          <p:nvPr/>
        </p:nvPicPr>
        <p:blipFill>
          <a:blip r:embed="rId21" cstate="print">
            <a:extLst>
              <a:ext uri="{28A0092B-C50C-407E-A947-70E740481C1C}">
                <a14:useLocalDpi xmlns:a14="http://schemas.microsoft.com/office/drawing/2010/main"/>
              </a:ext>
            </a:extLst>
          </a:blip>
          <a:stretch>
            <a:fillRect/>
          </a:stretch>
        </p:blipFill>
        <p:spPr>
          <a:xfrm>
            <a:off x="6531778" y="2374200"/>
            <a:ext cx="603503" cy="170687"/>
          </a:xfrm>
          <a:prstGeom prst="rect">
            <a:avLst/>
          </a:prstGeom>
        </p:spPr>
      </p:pic>
      <p:sp>
        <p:nvSpPr>
          <p:cNvPr id="125" name="object 67">
            <a:extLst>
              <a:ext uri="{FF2B5EF4-FFF2-40B4-BE49-F238E27FC236}">
                <a16:creationId xmlns:a16="http://schemas.microsoft.com/office/drawing/2014/main" id="{04C68810-4A76-4FC0-9E15-CF6B6FA77DD1}"/>
              </a:ext>
            </a:extLst>
          </p:cNvPr>
          <p:cNvSpPr txBox="1"/>
          <p:nvPr/>
        </p:nvSpPr>
        <p:spPr>
          <a:xfrm>
            <a:off x="6604871" y="2341611"/>
            <a:ext cx="471170" cy="201337"/>
          </a:xfrm>
          <a:prstGeom prst="rect">
            <a:avLst/>
          </a:prstGeom>
        </p:spPr>
        <p:txBody>
          <a:bodyPr vert="horz" wrap="square" lIns="0" tIns="39370" rIns="0" bIns="0" rtlCol="0">
            <a:spAutoFit/>
          </a:bodyPr>
          <a:lstStyle/>
          <a:p>
            <a:pPr marL="12700" marR="0" lvl="0" indent="0" defTabSz="914400" eaLnBrk="1" fontAlgn="auto" latinLnBrk="0" hangingPunct="1">
              <a:lnSpc>
                <a:spcPct val="100000"/>
              </a:lnSpc>
              <a:spcBef>
                <a:spcPts val="310"/>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0</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grpSp>
        <p:nvGrpSpPr>
          <p:cNvPr id="126" name="object 68">
            <a:extLst>
              <a:ext uri="{FF2B5EF4-FFF2-40B4-BE49-F238E27FC236}">
                <a16:creationId xmlns:a16="http://schemas.microsoft.com/office/drawing/2014/main" id="{F7D9B8C5-74F9-4BC9-9ADD-44AEB8DCEF2B}"/>
              </a:ext>
            </a:extLst>
          </p:cNvPr>
          <p:cNvGrpSpPr/>
          <p:nvPr/>
        </p:nvGrpSpPr>
        <p:grpSpPr>
          <a:xfrm>
            <a:off x="5412754" y="2959771"/>
            <a:ext cx="1045461" cy="1045451"/>
            <a:chOff x="4578413" y="2563380"/>
            <a:chExt cx="1045461" cy="1045451"/>
          </a:xfrm>
        </p:grpSpPr>
        <p:pic>
          <p:nvPicPr>
            <p:cNvPr id="127" name="object 69">
              <a:extLst>
                <a:ext uri="{FF2B5EF4-FFF2-40B4-BE49-F238E27FC236}">
                  <a16:creationId xmlns:a16="http://schemas.microsoft.com/office/drawing/2014/main" id="{C74E3050-B59A-4084-94CF-60AE2442826A}"/>
                </a:ext>
              </a:extLst>
            </p:cNvPr>
            <p:cNvPicPr/>
            <p:nvPr/>
          </p:nvPicPr>
          <p:blipFill>
            <a:blip r:embed="rId22" cstate="print">
              <a:extLst>
                <a:ext uri="{28A0092B-C50C-407E-A947-70E740481C1C}">
                  <a14:useLocalDpi xmlns:a14="http://schemas.microsoft.com/office/drawing/2010/main"/>
                </a:ext>
              </a:extLst>
            </a:blip>
            <a:stretch>
              <a:fillRect/>
            </a:stretch>
          </p:blipFill>
          <p:spPr>
            <a:xfrm>
              <a:off x="4578413" y="2563380"/>
              <a:ext cx="1045461" cy="1045451"/>
            </a:xfrm>
            <a:prstGeom prst="rect">
              <a:avLst/>
            </a:prstGeom>
          </p:spPr>
        </p:pic>
        <p:pic>
          <p:nvPicPr>
            <p:cNvPr id="128" name="object 70">
              <a:extLst>
                <a:ext uri="{FF2B5EF4-FFF2-40B4-BE49-F238E27FC236}">
                  <a16:creationId xmlns:a16="http://schemas.microsoft.com/office/drawing/2014/main" id="{23F9C9D4-6D36-4B4D-8DBC-A16463064488}"/>
                </a:ext>
              </a:extLst>
            </p:cNvPr>
            <p:cNvPicPr/>
            <p:nvPr/>
          </p:nvPicPr>
          <p:blipFill>
            <a:blip r:embed="rId23" cstate="print">
              <a:extLst>
                <a:ext uri="{28A0092B-C50C-407E-A947-70E740481C1C}">
                  <a14:useLocalDpi xmlns:a14="http://schemas.microsoft.com/office/drawing/2010/main"/>
                </a:ext>
              </a:extLst>
            </a:blip>
            <a:stretch>
              <a:fillRect/>
            </a:stretch>
          </p:blipFill>
          <p:spPr>
            <a:xfrm>
              <a:off x="4797866" y="2816352"/>
              <a:ext cx="603503" cy="167639"/>
            </a:xfrm>
            <a:prstGeom prst="rect">
              <a:avLst/>
            </a:prstGeom>
          </p:spPr>
        </p:pic>
      </p:grpSp>
      <p:sp>
        <p:nvSpPr>
          <p:cNvPr id="129" name="object 71">
            <a:extLst>
              <a:ext uri="{FF2B5EF4-FFF2-40B4-BE49-F238E27FC236}">
                <a16:creationId xmlns:a16="http://schemas.microsoft.com/office/drawing/2014/main" id="{84A482EA-8F55-4BEB-9AF9-8BA2601813DB}"/>
              </a:ext>
            </a:extLst>
          </p:cNvPr>
          <p:cNvSpPr txBox="1"/>
          <p:nvPr/>
        </p:nvSpPr>
        <p:spPr>
          <a:xfrm>
            <a:off x="5568749" y="3177933"/>
            <a:ext cx="709295" cy="201337"/>
          </a:xfrm>
          <a:prstGeom prst="rect">
            <a:avLst/>
          </a:prstGeom>
        </p:spPr>
        <p:txBody>
          <a:bodyPr vert="horz" wrap="square" lIns="0" tIns="39370" rIns="0" bIns="0" rtlCol="0">
            <a:spAutoFit/>
          </a:bodyPr>
          <a:lstStyle/>
          <a:p>
            <a:pPr marL="38735" marR="0" lvl="0" indent="0" algn="ctr" defTabSz="914400" eaLnBrk="1" fontAlgn="auto" latinLnBrk="0" hangingPunct="1">
              <a:lnSpc>
                <a:spcPct val="100000"/>
              </a:lnSpc>
              <a:spcBef>
                <a:spcPts val="310"/>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0</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30" name="テキスト ボックス 129">
            <a:extLst>
              <a:ext uri="{FF2B5EF4-FFF2-40B4-BE49-F238E27FC236}">
                <a16:creationId xmlns:a16="http://schemas.microsoft.com/office/drawing/2014/main" id="{8F9E68D8-3D36-4C19-88B8-52C9A712C75B}"/>
              </a:ext>
            </a:extLst>
          </p:cNvPr>
          <p:cNvSpPr txBox="1"/>
          <p:nvPr/>
        </p:nvSpPr>
        <p:spPr>
          <a:xfrm>
            <a:off x="6496827" y="2552952"/>
            <a:ext cx="674050" cy="423193"/>
          </a:xfrm>
          <a:prstGeom prst="rect">
            <a:avLst/>
          </a:prstGeom>
          <a:noFill/>
        </p:spPr>
        <p:txBody>
          <a:bodyPr wrap="square">
            <a:spAutoFit/>
          </a:bodyPr>
          <a:lstStyle/>
          <a:p>
            <a:pPr marL="26034" marR="0" lvl="0" indent="0" algn="ctr" defTabSz="914400" rtl="0" eaLnBrk="1" fontAlgn="auto" latinLnBrk="0" hangingPunct="1">
              <a:lnSpc>
                <a:spcPct val="100000"/>
              </a:lnSpc>
              <a:spcBef>
                <a:spcPts val="380"/>
              </a:spcBef>
              <a:spcAft>
                <a:spcPts val="0"/>
              </a:spcAft>
              <a:buClrTx/>
              <a:buSzTx/>
              <a:buFontTx/>
              <a:buNone/>
              <a:tabLst/>
              <a:defRPr/>
            </a:pPr>
            <a:r>
              <a:rPr kumimoji="1" lang="en-US" altLang="ja-JP" sz="2150" b="1" i="0" u="none" strike="noStrike" kern="1200" cap="none" spc="-25"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5%</a:t>
            </a:r>
            <a:endParaRPr kumimoji="1" lang="ja-JP" altLang="en-US" sz="2150" b="0" i="0" u="none" strike="noStrike" kern="1200" cap="none" spc="0" normalizeH="0" baseline="0" noProof="0">
              <a:ln>
                <a:noFill/>
              </a:ln>
              <a:solidFill>
                <a:srgbClr val="59595D"/>
              </a:solidFill>
              <a:effectLst/>
              <a:uLnTx/>
              <a:uFillTx/>
              <a:latin typeface="Yu Gothic" panose="020B0400000000000000" pitchFamily="34" charset="-128"/>
              <a:ea typeface="Yu Gothic" panose="020B0400000000000000" pitchFamily="34" charset="-128"/>
              <a:cs typeface="YuGothic"/>
            </a:endParaRPr>
          </a:p>
        </p:txBody>
      </p:sp>
      <p:sp>
        <p:nvSpPr>
          <p:cNvPr id="131" name="テキスト ボックス 130">
            <a:extLst>
              <a:ext uri="{FF2B5EF4-FFF2-40B4-BE49-F238E27FC236}">
                <a16:creationId xmlns:a16="http://schemas.microsoft.com/office/drawing/2014/main" id="{847A7171-8A0B-4393-B444-CA83FD949A0C}"/>
              </a:ext>
            </a:extLst>
          </p:cNvPr>
          <p:cNvSpPr txBox="1"/>
          <p:nvPr/>
        </p:nvSpPr>
        <p:spPr>
          <a:xfrm>
            <a:off x="7660632" y="3694121"/>
            <a:ext cx="784763" cy="423193"/>
          </a:xfrm>
          <a:prstGeom prst="rect">
            <a:avLst/>
          </a:prstGeom>
          <a:noFill/>
        </p:spPr>
        <p:txBody>
          <a:bodyPr wrap="square">
            <a:spAutoFit/>
          </a:bodyPr>
          <a:lstStyle/>
          <a:p>
            <a:pPr marL="12700" marR="0" lvl="0" indent="0" algn="ctr" defTabSz="914400" rtl="0" eaLnBrk="1" fontAlgn="auto" latinLnBrk="0" hangingPunct="1">
              <a:lnSpc>
                <a:spcPct val="100000"/>
              </a:lnSpc>
              <a:spcBef>
                <a:spcPts val="380"/>
              </a:spcBef>
              <a:spcAft>
                <a:spcPts val="0"/>
              </a:spcAft>
              <a:buClrTx/>
              <a:buSzTx/>
              <a:buFontTx/>
              <a:buNone/>
              <a:tabLst/>
              <a:defRPr/>
            </a:pPr>
            <a:r>
              <a:rPr kumimoji="1" lang="en-US" altLang="ja-JP" sz="2150" b="1" i="0" u="none" strike="noStrike" kern="1200" cap="none" spc="-11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25</a:t>
            </a:r>
            <a:r>
              <a:rPr kumimoji="1" lang="ja-JP" altLang="en-US" sz="2150" b="1" i="0" u="none" strike="noStrike" kern="1200" cap="none" spc="-6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隻</a:t>
            </a:r>
            <a:endParaRPr kumimoji="1" lang="ja-JP" altLang="en-US" sz="2150" b="0" i="0" u="none" strike="noStrike" kern="1200" cap="none" spc="0" normalizeH="0" baseline="0" noProof="0">
              <a:ln>
                <a:noFill/>
              </a:ln>
              <a:solidFill>
                <a:srgbClr val="59595D"/>
              </a:solidFill>
              <a:effectLst/>
              <a:uLnTx/>
              <a:uFillTx/>
              <a:latin typeface="Yu Gothic" panose="020B0400000000000000" pitchFamily="34" charset="-128"/>
              <a:ea typeface="Yu Gothic" panose="020B0400000000000000" pitchFamily="34" charset="-128"/>
              <a:cs typeface="YuGothic"/>
            </a:endParaRPr>
          </a:p>
        </p:txBody>
      </p:sp>
      <p:sp>
        <p:nvSpPr>
          <p:cNvPr id="132" name="テキスト ボックス 131">
            <a:extLst>
              <a:ext uri="{FF2B5EF4-FFF2-40B4-BE49-F238E27FC236}">
                <a16:creationId xmlns:a16="http://schemas.microsoft.com/office/drawing/2014/main" id="{38A514CE-D291-4763-96D8-AD90038BE297}"/>
              </a:ext>
            </a:extLst>
          </p:cNvPr>
          <p:cNvSpPr txBox="1"/>
          <p:nvPr/>
        </p:nvSpPr>
        <p:spPr>
          <a:xfrm>
            <a:off x="8966371" y="3387876"/>
            <a:ext cx="784763" cy="423193"/>
          </a:xfrm>
          <a:prstGeom prst="rect">
            <a:avLst/>
          </a:prstGeom>
          <a:noFill/>
        </p:spPr>
        <p:txBody>
          <a:bodyPr wrap="square">
            <a:spAutoFit/>
          </a:bodyPr>
          <a:lstStyle/>
          <a:p>
            <a:pPr marL="12700" marR="0" lvl="0" indent="0" algn="l" defTabSz="914400" rtl="0" eaLnBrk="1" fontAlgn="auto" latinLnBrk="0" hangingPunct="1">
              <a:lnSpc>
                <a:spcPct val="100000"/>
              </a:lnSpc>
              <a:spcBef>
                <a:spcPts val="380"/>
              </a:spcBef>
              <a:spcAft>
                <a:spcPts val="0"/>
              </a:spcAft>
              <a:buClrTx/>
              <a:buSzTx/>
              <a:buFontTx/>
              <a:buNone/>
              <a:tabLst/>
              <a:defRPr/>
            </a:pPr>
            <a:r>
              <a:rPr kumimoji="1" lang="en-US" altLang="ja-JP" sz="2150" b="1" i="0" u="none" strike="noStrike" kern="1200" cap="none" spc="-4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80</a:t>
            </a:r>
            <a:r>
              <a:rPr kumimoji="1" lang="ja-JP" altLang="en-US" sz="2150" b="1" i="0" u="none" strike="noStrike" kern="1200" cap="none" spc="-5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隻</a:t>
            </a:r>
            <a:endParaRPr kumimoji="1" lang="ja-JP" altLang="en-US" sz="2150" b="0" i="0" u="none" strike="noStrike" kern="1200" cap="none" spc="0" normalizeH="0" baseline="0" noProof="0">
              <a:ln>
                <a:noFill/>
              </a:ln>
              <a:solidFill>
                <a:srgbClr val="59595D"/>
              </a:solidFill>
              <a:effectLst/>
              <a:uLnTx/>
              <a:uFillTx/>
              <a:latin typeface="Yu Gothic" panose="020B0400000000000000" pitchFamily="34" charset="-128"/>
              <a:ea typeface="Yu Gothic" panose="020B0400000000000000" pitchFamily="34" charset="-128"/>
              <a:cs typeface="YuGothic"/>
            </a:endParaRPr>
          </a:p>
        </p:txBody>
      </p:sp>
      <p:pic>
        <p:nvPicPr>
          <p:cNvPr id="133" name="object 42">
            <a:extLst>
              <a:ext uri="{FF2B5EF4-FFF2-40B4-BE49-F238E27FC236}">
                <a16:creationId xmlns:a16="http://schemas.microsoft.com/office/drawing/2014/main" id="{51F3DC8D-EEA1-4894-AD80-8D6CD316CD1E}"/>
              </a:ext>
            </a:extLst>
          </p:cNvPr>
          <p:cNvPicPr/>
          <p:nvPr/>
        </p:nvPicPr>
        <p:blipFill>
          <a:blip r:embed="rId24" cstate="print">
            <a:extLst>
              <a:ext uri="{28A0092B-C50C-407E-A947-70E740481C1C}">
                <a14:useLocalDpi xmlns:a14="http://schemas.microsoft.com/office/drawing/2010/main"/>
              </a:ext>
            </a:extLst>
          </a:blip>
          <a:stretch>
            <a:fillRect/>
          </a:stretch>
        </p:blipFill>
        <p:spPr>
          <a:xfrm>
            <a:off x="7081971" y="1413766"/>
            <a:ext cx="2021090" cy="751840"/>
          </a:xfrm>
          <a:prstGeom prst="rect">
            <a:avLst/>
          </a:prstGeom>
        </p:spPr>
      </p:pic>
      <p:pic>
        <p:nvPicPr>
          <p:cNvPr id="134" name="object 43">
            <a:extLst>
              <a:ext uri="{FF2B5EF4-FFF2-40B4-BE49-F238E27FC236}">
                <a16:creationId xmlns:a16="http://schemas.microsoft.com/office/drawing/2014/main" id="{FC99067C-BAFE-4B6E-8D74-87733F5B8FE0}"/>
              </a:ext>
            </a:extLst>
          </p:cNvPr>
          <p:cNvPicPr/>
          <p:nvPr/>
        </p:nvPicPr>
        <p:blipFill>
          <a:blip r:embed="rId25" cstate="print">
            <a:extLst>
              <a:ext uri="{28A0092B-C50C-407E-A947-70E740481C1C}">
                <a14:useLocalDpi xmlns:a14="http://schemas.microsoft.com/office/drawing/2010/main"/>
              </a:ext>
            </a:extLst>
          </a:blip>
          <a:stretch>
            <a:fillRect/>
          </a:stretch>
        </p:blipFill>
        <p:spPr>
          <a:xfrm>
            <a:off x="7767963" y="1430127"/>
            <a:ext cx="558601" cy="180329"/>
          </a:xfrm>
          <a:prstGeom prst="rect">
            <a:avLst/>
          </a:prstGeom>
        </p:spPr>
      </p:pic>
      <p:sp>
        <p:nvSpPr>
          <p:cNvPr id="135" name="object 44">
            <a:extLst>
              <a:ext uri="{FF2B5EF4-FFF2-40B4-BE49-F238E27FC236}">
                <a16:creationId xmlns:a16="http://schemas.microsoft.com/office/drawing/2014/main" id="{0DC0B581-7C53-48F9-BF1E-54C0FCCC3E69}"/>
              </a:ext>
            </a:extLst>
          </p:cNvPr>
          <p:cNvSpPr txBox="1"/>
          <p:nvPr/>
        </p:nvSpPr>
        <p:spPr>
          <a:xfrm>
            <a:off x="7717130" y="1406857"/>
            <a:ext cx="666835" cy="201978"/>
          </a:xfrm>
          <a:prstGeom prst="rect">
            <a:avLst/>
          </a:prstGeom>
        </p:spPr>
        <p:txBody>
          <a:bodyPr vert="horz" wrap="square" lIns="0" tIns="40005" rIns="0" bIns="0" rtlCol="0">
            <a:spAutoFit/>
          </a:bodyPr>
          <a:lstStyle/>
          <a:p>
            <a:pPr marL="11430" marR="0" lvl="0" indent="0" algn="ctr" defTabSz="914400" eaLnBrk="1" fontAlgn="auto" latinLnBrk="0" hangingPunct="1">
              <a:lnSpc>
                <a:spcPct val="100000"/>
              </a:lnSpc>
              <a:spcBef>
                <a:spcPts val="315"/>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5</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36" name="テキスト ボックス 135">
            <a:extLst>
              <a:ext uri="{FF2B5EF4-FFF2-40B4-BE49-F238E27FC236}">
                <a16:creationId xmlns:a16="http://schemas.microsoft.com/office/drawing/2014/main" id="{431EDFB7-2BD1-4AF5-AE24-98B70063BFA8}"/>
              </a:ext>
            </a:extLst>
          </p:cNvPr>
          <p:cNvSpPr txBox="1"/>
          <p:nvPr/>
        </p:nvSpPr>
        <p:spPr>
          <a:xfrm>
            <a:off x="7044772" y="1596900"/>
            <a:ext cx="2023829" cy="623248"/>
          </a:xfrm>
          <a:prstGeom prst="rect">
            <a:avLst/>
          </a:prstGeom>
          <a:noFill/>
        </p:spPr>
        <p:txBody>
          <a:bodyPr wrap="square">
            <a:spAutoFit/>
          </a:bodyPr>
          <a:lstStyle/>
          <a:p>
            <a:pPr marL="0" marR="0" lvl="0" indent="0" algn="ctr" defTabSz="914400" rtl="0" eaLnBrk="1" fontAlgn="auto" latinLnBrk="0" hangingPunct="1">
              <a:lnSpc>
                <a:spcPct val="100000"/>
              </a:lnSpc>
              <a:spcBef>
                <a:spcPts val="280"/>
              </a:spcBef>
              <a:spcAft>
                <a:spcPts val="0"/>
              </a:spcAft>
              <a:buClrTx/>
              <a:buSzTx/>
              <a:buFontTx/>
              <a:buNone/>
              <a:tabLst/>
              <a:defRPr/>
            </a:pPr>
            <a:r>
              <a:rPr kumimoji="1" lang="ja-JP" altLang="en-US" sz="1400" b="1" i="0" u="none" strike="noStrike" kern="120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ネットゼロエミ外航船</a:t>
            </a:r>
            <a:endParaRPr kumimoji="1" lang="en-US" altLang="ja-JP" sz="1400" b="1" i="0" u="none" strike="noStrike" kern="120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endParaRPr>
          </a:p>
          <a:p>
            <a:pPr marL="0" marR="0" lvl="0" indent="0" algn="ctr" defTabSz="914400" rtl="0" eaLnBrk="1" fontAlgn="auto" latinLnBrk="0" hangingPunct="1">
              <a:lnSpc>
                <a:spcPct val="100000"/>
              </a:lnSpc>
              <a:spcBef>
                <a:spcPts val="280"/>
              </a:spcBef>
              <a:spcAft>
                <a:spcPts val="0"/>
              </a:spcAft>
              <a:buClrTx/>
              <a:buSzTx/>
              <a:buFontTx/>
              <a:buNone/>
              <a:tabLst/>
              <a:defRPr/>
            </a:pPr>
            <a:r>
              <a:rPr kumimoji="1" lang="en-US" altLang="ja-JP" sz="1800" b="1" i="0" u="none" strike="noStrike" kern="120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130</a:t>
            </a:r>
            <a:r>
              <a:rPr kumimoji="1" lang="ja-JP" altLang="en-US" sz="1800" b="1" i="0" u="none" strike="noStrike" kern="120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隻</a:t>
            </a:r>
            <a:endParaRPr kumimoji="1" lang="ja-JP" altLang="en-US" sz="1800" b="0" i="0" u="none" strike="noStrike" kern="1200" cap="none" spc="0" normalizeH="0" baseline="0" noProof="0">
              <a:ln>
                <a:noFill/>
              </a:ln>
              <a:solidFill>
                <a:srgbClr val="59595D"/>
              </a:solidFill>
              <a:effectLst/>
              <a:uLnTx/>
              <a:uFillTx/>
              <a:latin typeface="Yu Gothic" panose="020B0400000000000000" pitchFamily="34" charset="-128"/>
              <a:ea typeface="Yu Gothic" panose="020B0400000000000000" pitchFamily="34" charset="-128"/>
              <a:cs typeface="YuGothic"/>
            </a:endParaRPr>
          </a:p>
        </p:txBody>
      </p:sp>
      <p:sp>
        <p:nvSpPr>
          <p:cNvPr id="137" name="テキスト ボックス 136">
            <a:extLst>
              <a:ext uri="{FF2B5EF4-FFF2-40B4-BE49-F238E27FC236}">
                <a16:creationId xmlns:a16="http://schemas.microsoft.com/office/drawing/2014/main" id="{1C48872E-8DEB-4A4A-8F6C-72996BA37476}"/>
              </a:ext>
            </a:extLst>
          </p:cNvPr>
          <p:cNvSpPr txBox="1"/>
          <p:nvPr/>
        </p:nvSpPr>
        <p:spPr>
          <a:xfrm>
            <a:off x="5454919" y="3424816"/>
            <a:ext cx="962384" cy="423193"/>
          </a:xfrm>
          <a:prstGeom prst="rect">
            <a:avLst/>
          </a:prstGeom>
          <a:noFill/>
        </p:spPr>
        <p:txBody>
          <a:bodyPr wrap="square">
            <a:spAutoFit/>
          </a:bodyPr>
          <a:lstStyle/>
          <a:p>
            <a:pPr marL="26034" marR="0" lvl="0" indent="0" algn="ctr" defTabSz="914400" rtl="0" eaLnBrk="1" fontAlgn="auto" latinLnBrk="0" hangingPunct="1">
              <a:lnSpc>
                <a:spcPct val="100000"/>
              </a:lnSpc>
              <a:spcBef>
                <a:spcPts val="380"/>
              </a:spcBef>
              <a:spcAft>
                <a:spcPts val="0"/>
              </a:spcAft>
              <a:buClrTx/>
              <a:buSzTx/>
              <a:buFontTx/>
              <a:buNone/>
              <a:tabLst/>
              <a:defRPr/>
            </a:pPr>
            <a:r>
              <a:rPr kumimoji="1" lang="en-US" altLang="ja-JP" sz="2150" b="1" i="0" u="none" strike="noStrike" kern="1200" cap="none" spc="-25"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100%</a:t>
            </a:r>
            <a:endParaRPr kumimoji="1" lang="ja-JP" altLang="en-US" sz="2150" b="0" i="0" u="none" strike="noStrike" kern="1200" cap="none" spc="0" normalizeH="0" baseline="0" noProof="0">
              <a:ln>
                <a:noFill/>
              </a:ln>
              <a:solidFill>
                <a:srgbClr val="59595D"/>
              </a:solidFill>
              <a:effectLst/>
              <a:uLnTx/>
              <a:uFillTx/>
              <a:latin typeface="Yu Gothic" panose="020B0400000000000000" pitchFamily="34" charset="-128"/>
              <a:ea typeface="Yu Gothic" panose="020B0400000000000000" pitchFamily="34" charset="-128"/>
              <a:cs typeface="YuGothic"/>
            </a:endParaRPr>
          </a:p>
        </p:txBody>
      </p:sp>
      <p:grpSp>
        <p:nvGrpSpPr>
          <p:cNvPr id="138" name="object 29">
            <a:extLst>
              <a:ext uri="{FF2B5EF4-FFF2-40B4-BE49-F238E27FC236}">
                <a16:creationId xmlns:a16="http://schemas.microsoft.com/office/drawing/2014/main" id="{A891D52A-7A25-4DE9-B4B2-4E2466BFD755}"/>
              </a:ext>
            </a:extLst>
          </p:cNvPr>
          <p:cNvGrpSpPr/>
          <p:nvPr/>
        </p:nvGrpSpPr>
        <p:grpSpPr>
          <a:xfrm>
            <a:off x="9180391" y="5466130"/>
            <a:ext cx="1652774" cy="1313214"/>
            <a:chOff x="9415586" y="5766815"/>
            <a:chExt cx="1045463" cy="1045463"/>
          </a:xfrm>
        </p:grpSpPr>
        <p:pic>
          <p:nvPicPr>
            <p:cNvPr id="139" name="object 30">
              <a:extLst>
                <a:ext uri="{FF2B5EF4-FFF2-40B4-BE49-F238E27FC236}">
                  <a16:creationId xmlns:a16="http://schemas.microsoft.com/office/drawing/2014/main" id="{6E050E6E-9DA6-43DF-A972-CDDABD920E0C}"/>
                </a:ext>
              </a:extLst>
            </p:cNvPr>
            <p:cNvPicPr/>
            <p:nvPr/>
          </p:nvPicPr>
          <p:blipFill>
            <a:blip r:embed="rId26" cstate="print"/>
            <a:stretch>
              <a:fillRect/>
            </a:stretch>
          </p:blipFill>
          <p:spPr>
            <a:xfrm>
              <a:off x="9415586" y="5766815"/>
              <a:ext cx="1045463" cy="1045463"/>
            </a:xfrm>
            <a:prstGeom prst="rect">
              <a:avLst/>
            </a:prstGeom>
          </p:spPr>
        </p:pic>
        <p:pic>
          <p:nvPicPr>
            <p:cNvPr id="140" name="object 31">
              <a:extLst>
                <a:ext uri="{FF2B5EF4-FFF2-40B4-BE49-F238E27FC236}">
                  <a16:creationId xmlns:a16="http://schemas.microsoft.com/office/drawing/2014/main" id="{C72B2DC1-4963-4396-9D7F-4CEFC8CB2D87}"/>
                </a:ext>
              </a:extLst>
            </p:cNvPr>
            <p:cNvPicPr/>
            <p:nvPr/>
          </p:nvPicPr>
          <p:blipFill>
            <a:blip r:embed="rId27" cstate="print"/>
            <a:stretch>
              <a:fillRect/>
            </a:stretch>
          </p:blipFill>
          <p:spPr>
            <a:xfrm>
              <a:off x="9635042" y="5974079"/>
              <a:ext cx="603503" cy="170687"/>
            </a:xfrm>
            <a:prstGeom prst="rect">
              <a:avLst/>
            </a:prstGeom>
          </p:spPr>
        </p:pic>
      </p:grpSp>
      <p:sp>
        <p:nvSpPr>
          <p:cNvPr id="141" name="object 32">
            <a:extLst>
              <a:ext uri="{FF2B5EF4-FFF2-40B4-BE49-F238E27FC236}">
                <a16:creationId xmlns:a16="http://schemas.microsoft.com/office/drawing/2014/main" id="{7D891210-7573-4BC6-AFE3-F18906BA96C4}"/>
              </a:ext>
            </a:extLst>
          </p:cNvPr>
          <p:cNvSpPr txBox="1"/>
          <p:nvPr/>
        </p:nvSpPr>
        <p:spPr>
          <a:xfrm>
            <a:off x="9467410" y="5664929"/>
            <a:ext cx="1094879" cy="232756"/>
          </a:xfrm>
          <a:prstGeom prst="rect">
            <a:avLst/>
          </a:prstGeom>
        </p:spPr>
        <p:txBody>
          <a:bodyPr vert="horz" wrap="square" lIns="0" tIns="70485" rIns="0" bIns="0" rtlCol="0">
            <a:spAutoFit/>
          </a:bodyPr>
          <a:lstStyle/>
          <a:p>
            <a:pPr marL="43180" marR="0" lvl="0" indent="0" algn="ctr" defTabSz="914400" eaLnBrk="1" fontAlgn="auto" latinLnBrk="0" hangingPunct="1">
              <a:lnSpc>
                <a:spcPct val="100000"/>
              </a:lnSpc>
              <a:spcBef>
                <a:spcPts val="555"/>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25</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grpSp>
        <p:nvGrpSpPr>
          <p:cNvPr id="142" name="object 33">
            <a:extLst>
              <a:ext uri="{FF2B5EF4-FFF2-40B4-BE49-F238E27FC236}">
                <a16:creationId xmlns:a16="http://schemas.microsoft.com/office/drawing/2014/main" id="{368FD2D9-5782-42E0-BB99-C0F8880668D4}"/>
              </a:ext>
            </a:extLst>
          </p:cNvPr>
          <p:cNvGrpSpPr/>
          <p:nvPr/>
        </p:nvGrpSpPr>
        <p:grpSpPr>
          <a:xfrm>
            <a:off x="10429230" y="4270813"/>
            <a:ext cx="1647955" cy="1313199"/>
            <a:chOff x="10653074" y="4977396"/>
            <a:chExt cx="1042415" cy="1045451"/>
          </a:xfrm>
        </p:grpSpPr>
        <p:pic>
          <p:nvPicPr>
            <p:cNvPr id="143" name="object 34">
              <a:extLst>
                <a:ext uri="{FF2B5EF4-FFF2-40B4-BE49-F238E27FC236}">
                  <a16:creationId xmlns:a16="http://schemas.microsoft.com/office/drawing/2014/main" id="{04091539-E6B4-4056-A796-DCBA4E374E2D}"/>
                </a:ext>
              </a:extLst>
            </p:cNvPr>
            <p:cNvPicPr/>
            <p:nvPr/>
          </p:nvPicPr>
          <p:blipFill>
            <a:blip r:embed="rId28" cstate="print"/>
            <a:stretch>
              <a:fillRect/>
            </a:stretch>
          </p:blipFill>
          <p:spPr>
            <a:xfrm>
              <a:off x="10653074" y="4977396"/>
              <a:ext cx="1042415" cy="1045451"/>
            </a:xfrm>
            <a:prstGeom prst="rect">
              <a:avLst/>
            </a:prstGeom>
          </p:spPr>
        </p:pic>
        <p:pic>
          <p:nvPicPr>
            <p:cNvPr id="144" name="object 35">
              <a:extLst>
                <a:ext uri="{FF2B5EF4-FFF2-40B4-BE49-F238E27FC236}">
                  <a16:creationId xmlns:a16="http://schemas.microsoft.com/office/drawing/2014/main" id="{D3ACEE8D-72B5-470B-99C6-806EB6B84FE9}"/>
                </a:ext>
              </a:extLst>
            </p:cNvPr>
            <p:cNvPicPr/>
            <p:nvPr/>
          </p:nvPicPr>
          <p:blipFill>
            <a:blip r:embed="rId29" cstate="print"/>
            <a:stretch>
              <a:fillRect/>
            </a:stretch>
          </p:blipFill>
          <p:spPr>
            <a:xfrm>
              <a:off x="10881674" y="5096268"/>
              <a:ext cx="603503" cy="167627"/>
            </a:xfrm>
            <a:prstGeom prst="rect">
              <a:avLst/>
            </a:prstGeom>
          </p:spPr>
        </p:pic>
      </p:grpSp>
      <p:sp>
        <p:nvSpPr>
          <p:cNvPr id="145" name="object 36">
            <a:extLst>
              <a:ext uri="{FF2B5EF4-FFF2-40B4-BE49-F238E27FC236}">
                <a16:creationId xmlns:a16="http://schemas.microsoft.com/office/drawing/2014/main" id="{2E662562-4C7F-43E2-8069-5DC52958E7D7}"/>
              </a:ext>
            </a:extLst>
          </p:cNvPr>
          <p:cNvSpPr txBox="1"/>
          <p:nvPr/>
        </p:nvSpPr>
        <p:spPr>
          <a:xfrm>
            <a:off x="10795359" y="4357622"/>
            <a:ext cx="944618" cy="232756"/>
          </a:xfrm>
          <a:prstGeom prst="rect">
            <a:avLst/>
          </a:prstGeom>
        </p:spPr>
        <p:txBody>
          <a:bodyPr vert="horz" wrap="square" lIns="0" tIns="70485" rIns="0" bIns="0" rtlCol="0">
            <a:spAutoFit/>
          </a:bodyPr>
          <a:lstStyle/>
          <a:p>
            <a:pPr marL="39370" marR="0" lvl="0" indent="0" algn="ctr" defTabSz="914400" eaLnBrk="1" fontAlgn="auto" latinLnBrk="0" hangingPunct="1">
              <a:lnSpc>
                <a:spcPct val="100000"/>
              </a:lnSpc>
              <a:spcBef>
                <a:spcPts val="555"/>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0</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grpSp>
        <p:nvGrpSpPr>
          <p:cNvPr id="146" name="object 45">
            <a:extLst>
              <a:ext uri="{FF2B5EF4-FFF2-40B4-BE49-F238E27FC236}">
                <a16:creationId xmlns:a16="http://schemas.microsoft.com/office/drawing/2014/main" id="{FD20F80C-5CA9-40D1-9A3D-D3D28FDA21FA}"/>
              </a:ext>
            </a:extLst>
          </p:cNvPr>
          <p:cNvGrpSpPr/>
          <p:nvPr/>
        </p:nvGrpSpPr>
        <p:grpSpPr>
          <a:xfrm>
            <a:off x="8526313" y="4476585"/>
            <a:ext cx="1045451" cy="1045463"/>
            <a:chOff x="8741981" y="4760976"/>
            <a:chExt cx="1045451" cy="1045463"/>
          </a:xfrm>
        </p:grpSpPr>
        <p:pic>
          <p:nvPicPr>
            <p:cNvPr id="147" name="object 46">
              <a:extLst>
                <a:ext uri="{FF2B5EF4-FFF2-40B4-BE49-F238E27FC236}">
                  <a16:creationId xmlns:a16="http://schemas.microsoft.com/office/drawing/2014/main" id="{DEFE4701-598F-4879-A777-AE7031AE3400}"/>
                </a:ext>
              </a:extLst>
            </p:cNvPr>
            <p:cNvPicPr/>
            <p:nvPr/>
          </p:nvPicPr>
          <p:blipFill>
            <a:blip r:embed="rId30" cstate="print">
              <a:extLst>
                <a:ext uri="{28A0092B-C50C-407E-A947-70E740481C1C}">
                  <a14:useLocalDpi xmlns:a14="http://schemas.microsoft.com/office/drawing/2010/main"/>
                </a:ext>
              </a:extLst>
            </a:blip>
            <a:stretch>
              <a:fillRect/>
            </a:stretch>
          </p:blipFill>
          <p:spPr>
            <a:xfrm>
              <a:off x="8741981" y="4760976"/>
              <a:ext cx="1045451" cy="1045463"/>
            </a:xfrm>
            <a:prstGeom prst="rect">
              <a:avLst/>
            </a:prstGeom>
          </p:spPr>
        </p:pic>
        <p:pic>
          <p:nvPicPr>
            <p:cNvPr id="148" name="object 47">
              <a:extLst>
                <a:ext uri="{FF2B5EF4-FFF2-40B4-BE49-F238E27FC236}">
                  <a16:creationId xmlns:a16="http://schemas.microsoft.com/office/drawing/2014/main" id="{0A3BBA5B-4CB8-4617-B6D1-56E71BF32DE8}"/>
                </a:ext>
              </a:extLst>
            </p:cNvPr>
            <p:cNvPicPr/>
            <p:nvPr/>
          </p:nvPicPr>
          <p:blipFill>
            <a:blip r:embed="rId31" cstate="print">
              <a:extLst>
                <a:ext uri="{28A0092B-C50C-407E-A947-70E740481C1C}">
                  <a14:useLocalDpi xmlns:a14="http://schemas.microsoft.com/office/drawing/2010/main"/>
                </a:ext>
              </a:extLst>
            </a:blip>
            <a:stretch>
              <a:fillRect/>
            </a:stretch>
          </p:blipFill>
          <p:spPr>
            <a:xfrm>
              <a:off x="8964482" y="5004816"/>
              <a:ext cx="603503" cy="170687"/>
            </a:xfrm>
            <a:prstGeom prst="rect">
              <a:avLst/>
            </a:prstGeom>
          </p:spPr>
        </p:pic>
      </p:grpSp>
      <p:sp>
        <p:nvSpPr>
          <p:cNvPr id="149" name="object 48">
            <a:extLst>
              <a:ext uri="{FF2B5EF4-FFF2-40B4-BE49-F238E27FC236}">
                <a16:creationId xmlns:a16="http://schemas.microsoft.com/office/drawing/2014/main" id="{41DEEBAC-FDF8-4FEF-B19E-C1D6E8771280}"/>
              </a:ext>
            </a:extLst>
          </p:cNvPr>
          <p:cNvSpPr txBox="1"/>
          <p:nvPr/>
        </p:nvSpPr>
        <p:spPr>
          <a:xfrm>
            <a:off x="8615799" y="4682835"/>
            <a:ext cx="887094" cy="206467"/>
          </a:xfrm>
          <a:prstGeom prst="rect">
            <a:avLst/>
          </a:prstGeom>
        </p:spPr>
        <p:txBody>
          <a:bodyPr vert="horz" wrap="square" lIns="0" tIns="44450" rIns="0" bIns="0" rtlCol="0">
            <a:spAutoFit/>
          </a:bodyPr>
          <a:lstStyle/>
          <a:p>
            <a:pPr marL="0" marR="0" lvl="0" indent="0" algn="ctr" defTabSz="914400" eaLnBrk="1" fontAlgn="auto" latinLnBrk="0" hangingPunct="1">
              <a:lnSpc>
                <a:spcPct val="100000"/>
              </a:lnSpc>
              <a:spcBef>
                <a:spcPts val="350"/>
              </a:spcBef>
              <a:spcAft>
                <a:spcPts val="0"/>
              </a:spcAft>
              <a:buClrTx/>
              <a:buSzTx/>
              <a:buFontTx/>
              <a:buNone/>
              <a:tabLst/>
              <a:defRPr/>
            </a:pPr>
            <a:r>
              <a:rPr kumimoji="0" sz="1050" b="1" i="0" u="none" strike="noStrike" kern="0" cap="none" spc="-1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2030</a:t>
            </a:r>
            <a:r>
              <a:rPr kumimoji="0" sz="1050" b="1" i="0" u="none" strike="noStrike" kern="0" cap="none" spc="-5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年</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50" name="テキスト ボックス 149">
            <a:extLst>
              <a:ext uri="{FF2B5EF4-FFF2-40B4-BE49-F238E27FC236}">
                <a16:creationId xmlns:a16="http://schemas.microsoft.com/office/drawing/2014/main" id="{18574C28-33B4-4374-A69C-5B8719CABBEE}"/>
              </a:ext>
            </a:extLst>
          </p:cNvPr>
          <p:cNvSpPr txBox="1"/>
          <p:nvPr/>
        </p:nvSpPr>
        <p:spPr>
          <a:xfrm>
            <a:off x="8559156" y="4879245"/>
            <a:ext cx="1021531" cy="423193"/>
          </a:xfrm>
          <a:prstGeom prst="rect">
            <a:avLst/>
          </a:prstGeom>
          <a:noFill/>
        </p:spPr>
        <p:txBody>
          <a:bodyPr wrap="square">
            <a:spAutoFit/>
          </a:bodyPr>
          <a:lstStyle/>
          <a:p>
            <a:pPr marL="0" marR="14604" lvl="0" indent="0" algn="ctr" defTabSz="914400" rtl="0" eaLnBrk="1" fontAlgn="auto" latinLnBrk="0" hangingPunct="1">
              <a:lnSpc>
                <a:spcPct val="100000"/>
              </a:lnSpc>
              <a:spcBef>
                <a:spcPts val="455"/>
              </a:spcBef>
              <a:spcAft>
                <a:spcPts val="0"/>
              </a:spcAft>
              <a:buClrTx/>
              <a:buSzTx/>
              <a:buFontTx/>
              <a:buNone/>
              <a:tabLst/>
              <a:defRPr/>
            </a:pPr>
            <a:r>
              <a:rPr kumimoji="1" lang="en-US" altLang="ja-JP" sz="2150" b="1" i="0" u="none" strike="noStrike" kern="120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220</a:t>
            </a:r>
            <a:r>
              <a:rPr kumimoji="1" lang="ja-JP" altLang="en-US" sz="1800" b="1" i="0" u="none" strike="noStrike" kern="1200" cap="none" spc="-419" normalizeH="0" baseline="4629" noProof="0">
                <a:ln>
                  <a:noFill/>
                </a:ln>
                <a:solidFill>
                  <a:srgbClr val="00A69A"/>
                </a:solidFill>
                <a:effectLst/>
                <a:uLnTx/>
                <a:uFillTx/>
                <a:latin typeface="Yu Gothic" panose="020B0400000000000000" pitchFamily="34" charset="-128"/>
                <a:ea typeface="Yu Gothic" panose="020B0400000000000000" pitchFamily="34" charset="-128"/>
                <a:cs typeface="YuGothic"/>
              </a:rPr>
              <a:t>万トン</a:t>
            </a:r>
            <a:endParaRPr kumimoji="1" lang="ja-JP" altLang="en-US" sz="1800" b="0" i="0" u="none" strike="noStrike" kern="1200" cap="none" spc="0" normalizeH="0" baseline="4629" noProof="0">
              <a:ln>
                <a:noFill/>
              </a:ln>
              <a:solidFill>
                <a:srgbClr val="59595D"/>
              </a:solidFill>
              <a:effectLst/>
              <a:uLnTx/>
              <a:uFillTx/>
              <a:latin typeface="Yu Gothic" panose="020B0400000000000000" pitchFamily="34" charset="-128"/>
              <a:ea typeface="Yu Gothic" panose="020B0400000000000000" pitchFamily="34" charset="-128"/>
              <a:cs typeface="YuGothic"/>
            </a:endParaRPr>
          </a:p>
        </p:txBody>
      </p:sp>
      <p:sp>
        <p:nvSpPr>
          <p:cNvPr id="151" name="テキスト ボックス 150">
            <a:extLst>
              <a:ext uri="{FF2B5EF4-FFF2-40B4-BE49-F238E27FC236}">
                <a16:creationId xmlns:a16="http://schemas.microsoft.com/office/drawing/2014/main" id="{9F4C4C6E-BFE7-4050-929C-C6250FBAA111}"/>
              </a:ext>
            </a:extLst>
          </p:cNvPr>
          <p:cNvSpPr txBox="1"/>
          <p:nvPr/>
        </p:nvSpPr>
        <p:spPr>
          <a:xfrm>
            <a:off x="9366181" y="5982445"/>
            <a:ext cx="1306635" cy="742254"/>
          </a:xfrm>
          <a:prstGeom prst="rect">
            <a:avLst/>
          </a:prstGeom>
          <a:noFill/>
        </p:spPr>
        <p:txBody>
          <a:bodyPr wrap="square">
            <a:spAutoFit/>
          </a:bodyPr>
          <a:lstStyle/>
          <a:p>
            <a:pPr marL="12700" marR="5080" lvl="0" indent="0" algn="ctr" defTabSz="914400" rtl="0" eaLnBrk="1" fontAlgn="auto" latinLnBrk="0" hangingPunct="1">
              <a:lnSpc>
                <a:spcPct val="100800"/>
              </a:lnSpc>
              <a:spcBef>
                <a:spcPts val="0"/>
              </a:spcBef>
              <a:spcAft>
                <a:spcPts val="0"/>
              </a:spcAft>
              <a:buClrTx/>
              <a:buSzTx/>
              <a:buFontTx/>
              <a:buNone/>
              <a:tabLst/>
              <a:defRPr/>
            </a:pPr>
            <a:r>
              <a:rPr kumimoji="1" lang="ja-JP" altLang="en-US" sz="1600" b="1" i="0" u="none" strike="noStrike" kern="1200" cap="none" spc="-1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環境投資額</a:t>
            </a:r>
            <a:r>
              <a:rPr kumimoji="1" lang="en-US" altLang="ja-JP" sz="1600" b="1" i="0" u="none" strike="noStrike" kern="1200" cap="none" spc="-5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6,500</a:t>
            </a:r>
            <a:r>
              <a:rPr kumimoji="1" lang="ja-JP" altLang="en-US" sz="1600" b="1" i="0" u="none" strike="noStrike" kern="1200" cap="none" spc="-4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億円</a:t>
            </a:r>
            <a:endParaRPr kumimoji="1" lang="en-US" altLang="ja-JP" sz="1600" b="1" i="0" u="none" strike="noStrike" kern="1200" cap="none" spc="-4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endParaRPr>
          </a:p>
          <a:p>
            <a:pPr marL="12700" marR="5080" lvl="0" indent="0" algn="ctr" defTabSz="914400" rtl="0" eaLnBrk="1" fontAlgn="auto" latinLnBrk="0" hangingPunct="1">
              <a:lnSpc>
                <a:spcPct val="100800"/>
              </a:lnSpc>
              <a:spcBef>
                <a:spcPts val="0"/>
              </a:spcBef>
              <a:spcAft>
                <a:spcPts val="0"/>
              </a:spcAft>
              <a:buClrTx/>
              <a:buSzTx/>
              <a:buFontTx/>
              <a:buNone/>
              <a:tabLst/>
              <a:defRPr/>
            </a:pPr>
            <a:r>
              <a:rPr kumimoji="1" lang="en-US" altLang="ja-JP" sz="1000" b="1" i="0" u="none" strike="noStrike" kern="1200" cap="none" spc="-4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23-25</a:t>
            </a:r>
            <a:r>
              <a:rPr kumimoji="1" lang="ja-JP" altLang="en-US" sz="1000" b="1" i="0" u="none" strike="noStrike" kern="1200" cap="none" spc="-4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年度累計</a:t>
            </a:r>
            <a:r>
              <a:rPr kumimoji="1" lang="en-US" altLang="ja-JP" sz="1000" b="1" i="0" u="none" strike="noStrike" kern="1200" cap="none" spc="-4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a:t>
            </a:r>
            <a:endParaRPr kumimoji="1" lang="ja-JP" altLang="en-US" sz="1000" b="0" i="0" u="none" strike="noStrike" kern="1200" cap="none" spc="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endParaRPr>
          </a:p>
        </p:txBody>
      </p:sp>
      <p:sp>
        <p:nvSpPr>
          <p:cNvPr id="152" name="テキスト ボックス 151">
            <a:extLst>
              <a:ext uri="{FF2B5EF4-FFF2-40B4-BE49-F238E27FC236}">
                <a16:creationId xmlns:a16="http://schemas.microsoft.com/office/drawing/2014/main" id="{40BEF803-CF86-483B-97EC-4949923AD4F8}"/>
              </a:ext>
            </a:extLst>
          </p:cNvPr>
          <p:cNvSpPr txBox="1"/>
          <p:nvPr/>
        </p:nvSpPr>
        <p:spPr>
          <a:xfrm>
            <a:off x="10593899" y="4672410"/>
            <a:ext cx="1306635" cy="782265"/>
          </a:xfrm>
          <a:prstGeom prst="rect">
            <a:avLst/>
          </a:prstGeom>
          <a:noFill/>
        </p:spPr>
        <p:txBody>
          <a:bodyPr wrap="square">
            <a:spAutoFit/>
          </a:bodyPr>
          <a:lstStyle/>
          <a:p>
            <a:pPr marL="0" marR="0" lvl="0" indent="0" algn="ctr" defTabSz="914400" rtl="0" eaLnBrk="1" fontAlgn="auto" latinLnBrk="0" hangingPunct="1">
              <a:lnSpc>
                <a:spcPct val="100000"/>
              </a:lnSpc>
              <a:spcBef>
                <a:spcPts val="550"/>
              </a:spcBef>
              <a:spcAft>
                <a:spcPts val="0"/>
              </a:spcAft>
              <a:buClrTx/>
              <a:buSzTx/>
              <a:buFontTx/>
              <a:buNone/>
              <a:tabLst/>
              <a:defRPr/>
            </a:pPr>
            <a:r>
              <a:rPr kumimoji="1" lang="en-US" altLang="ja-JP" sz="1600" b="1" i="0" u="none" strike="noStrike" kern="1200" cap="none" spc="-2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GHG</a:t>
            </a:r>
            <a:r>
              <a:rPr kumimoji="1" lang="ja-JP" altLang="en-US" sz="1600" b="1" i="0" u="none" strike="noStrike" kern="1200" cap="none" spc="-2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総量</a:t>
            </a:r>
            <a:endParaRPr kumimoji="1" lang="ja-JP" altLang="en-US" sz="1600" b="0" i="0" u="none" strike="noStrike" kern="1200" cap="none" spc="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endParaRPr>
          </a:p>
          <a:p>
            <a:pPr marL="0" marR="0" lvl="0" indent="0" algn="ctr" defTabSz="914400" rtl="0" eaLnBrk="1" fontAlgn="auto" latinLnBrk="0" hangingPunct="1">
              <a:lnSpc>
                <a:spcPct val="100000"/>
              </a:lnSpc>
              <a:spcBef>
                <a:spcPts val="15"/>
              </a:spcBef>
              <a:spcAft>
                <a:spcPts val="0"/>
              </a:spcAft>
              <a:buClrTx/>
              <a:buSzTx/>
              <a:buFontTx/>
              <a:buNone/>
              <a:tabLst/>
              <a:defRPr/>
            </a:pPr>
            <a:r>
              <a:rPr kumimoji="1" lang="ja-JP" altLang="en-US" sz="1600" b="1" i="0" u="none" strike="noStrike" kern="1200" cap="none" spc="-2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a:t>
            </a:r>
            <a:r>
              <a:rPr kumimoji="1" lang="en-US" altLang="ja-JP" sz="1600" b="1" i="0" u="none" strike="noStrike" kern="1200" cap="none" spc="-2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23%</a:t>
            </a:r>
            <a:endParaRPr kumimoji="1" lang="ja-JP" altLang="en-US" sz="1600" b="0" i="0" u="none" strike="noStrike" kern="1200" cap="none" spc="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endParaRPr>
          </a:p>
          <a:p>
            <a:pPr marL="0" marR="0" lvl="0" indent="0" algn="ctr" defTabSz="914400" rtl="0" eaLnBrk="1" fontAlgn="auto" latinLnBrk="0" hangingPunct="1">
              <a:lnSpc>
                <a:spcPct val="100000"/>
              </a:lnSpc>
              <a:spcBef>
                <a:spcPts val="50"/>
              </a:spcBef>
              <a:spcAft>
                <a:spcPts val="0"/>
              </a:spcAft>
              <a:buClrTx/>
              <a:buSzTx/>
              <a:buFontTx/>
              <a:buNone/>
              <a:tabLst/>
              <a:defRPr/>
            </a:pPr>
            <a:r>
              <a:rPr kumimoji="1" lang="en-US" altLang="ja-JP" sz="1200" b="1" i="0" u="none" strike="noStrike" kern="1200" cap="none" spc="-25"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2019</a:t>
            </a:r>
            <a:r>
              <a:rPr kumimoji="1" lang="ja-JP" altLang="en-US" sz="1200" b="1" i="0" u="none" strike="noStrike" kern="1200" cap="none" spc="-4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年比</a:t>
            </a:r>
            <a:r>
              <a:rPr kumimoji="1" lang="en-US" altLang="ja-JP" sz="1200" b="1" i="0" u="none" strike="noStrike" kern="1200" cap="none" spc="-4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rPr>
              <a:t>)</a:t>
            </a:r>
            <a:endParaRPr kumimoji="1" lang="ja-JP" altLang="en-US" sz="1200" b="0" i="0" u="none" strike="noStrike" kern="1200" cap="none" spc="0" normalizeH="0" baseline="0" noProof="0">
              <a:ln>
                <a:noFill/>
              </a:ln>
              <a:solidFill>
                <a:srgbClr val="002060"/>
              </a:solidFill>
              <a:effectLst/>
              <a:uLnTx/>
              <a:uFillTx/>
              <a:latin typeface="Yu Gothic" panose="020B0400000000000000" pitchFamily="34" charset="-128"/>
              <a:ea typeface="Yu Gothic" panose="020B0400000000000000" pitchFamily="34" charset="-128"/>
              <a:cs typeface="YuGothic"/>
            </a:endParaRPr>
          </a:p>
        </p:txBody>
      </p:sp>
      <p:sp>
        <p:nvSpPr>
          <p:cNvPr id="153" name="object 58">
            <a:extLst>
              <a:ext uri="{FF2B5EF4-FFF2-40B4-BE49-F238E27FC236}">
                <a16:creationId xmlns:a16="http://schemas.microsoft.com/office/drawing/2014/main" id="{E9E8B4C4-807C-4356-B1F9-39221D65F4F2}"/>
              </a:ext>
            </a:extLst>
          </p:cNvPr>
          <p:cNvSpPr txBox="1"/>
          <p:nvPr/>
        </p:nvSpPr>
        <p:spPr>
          <a:xfrm>
            <a:off x="450580" y="2896171"/>
            <a:ext cx="918604" cy="537968"/>
          </a:xfrm>
          <a:prstGeom prst="rect">
            <a:avLst/>
          </a:prstGeom>
        </p:spPr>
        <p:txBody>
          <a:bodyPr vert="horz" wrap="square" lIns="0" tIns="17145" rIns="0" bIns="0" rtlCol="0">
            <a:spAutoFit/>
          </a:bodyPr>
          <a:lstStyle/>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クリーン</a:t>
            </a:r>
            <a:endParaRPr kumimoji="0" lang="en-US" altLang="ja-JP"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エネルギーの導入</a:t>
            </a:r>
          </a:p>
        </p:txBody>
      </p:sp>
      <p:sp>
        <p:nvSpPr>
          <p:cNvPr id="154" name="object 58">
            <a:extLst>
              <a:ext uri="{FF2B5EF4-FFF2-40B4-BE49-F238E27FC236}">
                <a16:creationId xmlns:a16="http://schemas.microsoft.com/office/drawing/2014/main" id="{052D1366-F769-4E0A-B68A-6ED0B7785C47}"/>
              </a:ext>
            </a:extLst>
          </p:cNvPr>
          <p:cNvSpPr txBox="1"/>
          <p:nvPr/>
        </p:nvSpPr>
        <p:spPr>
          <a:xfrm>
            <a:off x="1593081" y="4567768"/>
            <a:ext cx="803142" cy="537968"/>
          </a:xfrm>
          <a:prstGeom prst="rect">
            <a:avLst/>
          </a:prstGeom>
        </p:spPr>
        <p:txBody>
          <a:bodyPr vert="horz" wrap="square" lIns="0" tIns="17145" rIns="0" bIns="0" rtlCol="0">
            <a:spAutoFit/>
          </a:bodyPr>
          <a:lstStyle/>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さらなる</a:t>
            </a:r>
            <a:endParaRPr kumimoji="0" lang="en-US" altLang="ja-JP"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省エネ技術の導入</a:t>
            </a:r>
          </a:p>
        </p:txBody>
      </p:sp>
      <p:sp>
        <p:nvSpPr>
          <p:cNvPr id="155" name="object 58">
            <a:extLst>
              <a:ext uri="{FF2B5EF4-FFF2-40B4-BE49-F238E27FC236}">
                <a16:creationId xmlns:a16="http://schemas.microsoft.com/office/drawing/2014/main" id="{BAE4367F-DAE3-4413-BBB7-C63FFA835C11}"/>
              </a:ext>
            </a:extLst>
          </p:cNvPr>
          <p:cNvSpPr txBox="1"/>
          <p:nvPr/>
        </p:nvSpPr>
        <p:spPr>
          <a:xfrm>
            <a:off x="4097882" y="6030991"/>
            <a:ext cx="996313" cy="728120"/>
          </a:xfrm>
          <a:prstGeom prst="rect">
            <a:avLst/>
          </a:prstGeom>
        </p:spPr>
        <p:txBody>
          <a:bodyPr vert="horz" wrap="square" lIns="0" tIns="17145" rIns="0" bIns="0" rtlCol="0">
            <a:spAutoFit/>
          </a:bodyPr>
          <a:lstStyle/>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ネットゼロを  可能にする</a:t>
            </a:r>
            <a:endParaRPr kumimoji="0" lang="en-US" altLang="ja-JP"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endParaRPr>
          </a:p>
          <a:p>
            <a:pPr marL="10160" marR="0" lvl="0" indent="0" algn="ctr" defTabSz="914400" eaLnBrk="1" fontAlgn="auto" latinLnBrk="0" hangingPunct="1">
              <a:lnSpc>
                <a:spcPct val="100000"/>
              </a:lnSpc>
              <a:spcBef>
                <a:spcPts val="135"/>
              </a:spcBef>
              <a:spcAft>
                <a:spcPts val="0"/>
              </a:spcAft>
              <a:buClrTx/>
              <a:buSzTx/>
              <a:buFontTx/>
              <a:buNone/>
              <a:tabLst/>
              <a:defRPr/>
            </a:pPr>
            <a:r>
              <a:rPr kumimoji="0" lang="ja-JP" altLang="en-US" sz="1100" b="1" i="0" u="none" strike="noStrike" kern="0" cap="none" spc="-25" normalizeH="0" baseline="0" noProof="0">
                <a:ln>
                  <a:noFill/>
                </a:ln>
                <a:solidFill>
                  <a:srgbClr val="FFFFFF">
                    <a:lumMod val="65000"/>
                  </a:srgbClr>
                </a:solidFill>
                <a:effectLst/>
                <a:uLnTx/>
                <a:uFillTx/>
                <a:latin typeface="Yu Gothic" panose="020B0400000000000000" pitchFamily="34" charset="-128"/>
                <a:ea typeface="Yu Gothic" panose="020B0400000000000000" pitchFamily="34" charset="-128"/>
                <a:cs typeface="YuGothic"/>
              </a:rPr>
              <a:t>ビジネスモデル構築</a:t>
            </a:r>
          </a:p>
        </p:txBody>
      </p:sp>
      <p:sp>
        <p:nvSpPr>
          <p:cNvPr id="156" name="object 6">
            <a:extLst>
              <a:ext uri="{FF2B5EF4-FFF2-40B4-BE49-F238E27FC236}">
                <a16:creationId xmlns:a16="http://schemas.microsoft.com/office/drawing/2014/main" id="{D4FB03F0-BA15-42DA-892A-90AA0A2A0060}"/>
              </a:ext>
            </a:extLst>
          </p:cNvPr>
          <p:cNvSpPr txBox="1"/>
          <p:nvPr/>
        </p:nvSpPr>
        <p:spPr>
          <a:xfrm>
            <a:off x="1504857" y="1665772"/>
            <a:ext cx="2088000" cy="456535"/>
          </a:xfrm>
          <a:prstGeom prst="rect">
            <a:avLst/>
          </a:prstGeom>
          <a:solidFill>
            <a:schemeClr val="accent1">
              <a:lumMod val="75000"/>
              <a:alpha val="70000"/>
            </a:schemeClr>
          </a:solidFill>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a:t>
            </a:r>
            <a:endParaRPr kumimoji="0" 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endParaRPr>
          </a:p>
          <a:p>
            <a:pPr marL="12700" marR="0" lvl="0" indent="0"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YuGothic"/>
              </a:rPr>
              <a:t>代替燃料船隻数</a:t>
            </a:r>
            <a:endParaRPr kumimoji="0" sz="14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57" name="object 8">
            <a:extLst>
              <a:ext uri="{FF2B5EF4-FFF2-40B4-BE49-F238E27FC236}">
                <a16:creationId xmlns:a16="http://schemas.microsoft.com/office/drawing/2014/main" id="{5E956E14-AD76-43E6-A613-5CB65A9D0F39}"/>
              </a:ext>
            </a:extLst>
          </p:cNvPr>
          <p:cNvSpPr txBox="1"/>
          <p:nvPr/>
        </p:nvSpPr>
        <p:spPr>
          <a:xfrm>
            <a:off x="1951764" y="2442844"/>
            <a:ext cx="2088000" cy="456535"/>
          </a:xfrm>
          <a:prstGeom prst="rect">
            <a:avLst/>
          </a:prstGeom>
          <a:solidFill>
            <a:schemeClr val="accent1">
              <a:lumMod val="75000"/>
              <a:alpha val="70000"/>
            </a:schemeClr>
          </a:solidFill>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a:t>
            </a:r>
          </a:p>
          <a:p>
            <a:pPr marL="12700" marR="0" lvl="0" indent="0" algn="ctr" defTabSz="914400" eaLnBrk="1" fontAlgn="auto" latinLnBrk="0" hangingPunct="1">
              <a:lnSpc>
                <a:spcPct val="100000"/>
              </a:lnSpc>
              <a:spcBef>
                <a:spcPts val="100"/>
              </a:spcBef>
              <a:spcAft>
                <a:spcPts val="0"/>
              </a:spcAft>
              <a:buClrTx/>
              <a:buSzTx/>
              <a:buFontTx/>
              <a:buNone/>
              <a:tabLst/>
              <a:defRPr/>
            </a:pPr>
            <a:r>
              <a:rPr kumimoji="0" lang="ja-JP" altLang="en-US" sz="1400" b="1" i="0" u="none" strike="noStrike" kern="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YuGothic"/>
              </a:rPr>
              <a:t>ゼロエミ燃料使用割合</a:t>
            </a:r>
            <a:endParaRPr kumimoji="0" sz="14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58" name="object 10">
            <a:extLst>
              <a:ext uri="{FF2B5EF4-FFF2-40B4-BE49-F238E27FC236}">
                <a16:creationId xmlns:a16="http://schemas.microsoft.com/office/drawing/2014/main" id="{E56D6F27-7F18-40DC-A6E0-AA2F28079D3E}"/>
              </a:ext>
            </a:extLst>
          </p:cNvPr>
          <p:cNvSpPr txBox="1"/>
          <p:nvPr/>
        </p:nvSpPr>
        <p:spPr>
          <a:xfrm>
            <a:off x="2511485" y="3219916"/>
            <a:ext cx="2088000" cy="456535"/>
          </a:xfrm>
          <a:prstGeom prst="rect">
            <a:avLst/>
          </a:prstGeom>
          <a:solidFill>
            <a:schemeClr val="accent1">
              <a:lumMod val="75000"/>
              <a:alpha val="70000"/>
            </a:schemeClr>
          </a:solidFill>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a:t>
            </a:r>
            <a:endParaRPr kumimoji="0" lang="en-US" altLang="ja-JP"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endParaRPr>
          </a:p>
          <a:p>
            <a:pPr marL="12700" marR="0" lvl="0" indent="0" algn="ctr" defTabSz="914400" eaLnBrk="1" fontAlgn="auto" latinLnBrk="0" hangingPunct="1">
              <a:lnSpc>
                <a:spcPct val="1000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Scope2 </a:t>
            </a:r>
            <a:r>
              <a:rPr kumimoji="0" sz="1400" b="1" i="0" u="none" strike="noStrike" kern="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YuGothic"/>
              </a:rPr>
              <a:t>電力</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 </a:t>
            </a:r>
            <a:r>
              <a:rPr kumimoji="0" sz="1400" b="1" i="0" u="none" strike="noStrike" kern="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YuGothic"/>
              </a:rPr>
              <a:t>再エネ割合</a:t>
            </a:r>
            <a:endParaRPr kumimoji="0" sz="14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59" name="object 12">
            <a:extLst>
              <a:ext uri="{FF2B5EF4-FFF2-40B4-BE49-F238E27FC236}">
                <a16:creationId xmlns:a16="http://schemas.microsoft.com/office/drawing/2014/main" id="{8C8F4058-8E39-42D6-8B64-730DFF02E805}"/>
              </a:ext>
            </a:extLst>
          </p:cNvPr>
          <p:cNvSpPr txBox="1"/>
          <p:nvPr/>
        </p:nvSpPr>
        <p:spPr>
          <a:xfrm>
            <a:off x="3115189" y="3996988"/>
            <a:ext cx="2088000" cy="486608"/>
          </a:xfrm>
          <a:prstGeom prst="rect">
            <a:avLst/>
          </a:prstGeom>
          <a:solidFill>
            <a:schemeClr val="accent1">
              <a:lumMod val="75000"/>
              <a:alpha val="70000"/>
            </a:schemeClr>
          </a:solidFill>
        </p:spPr>
        <p:txBody>
          <a:bodyPr vert="horz" wrap="square" lIns="0" tIns="12700" rIns="0" bIns="0" rtlCol="0">
            <a:spAutoFit/>
          </a:bodyPr>
          <a:lstStyle/>
          <a:p>
            <a:pPr marL="12700" marR="5080" lvl="0" indent="0" algn="ctr" defTabSz="914400" eaLnBrk="1" fontAlgn="auto" latinLnBrk="0" hangingPunct="1">
              <a:lnSpc>
                <a:spcPct val="1094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a:t>
            </a:r>
            <a:r>
              <a:rPr kumimoji="0" lang="ja-JP" altLang="en-US" sz="1400" b="1" i="0" u="none" strike="noStrike" kern="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YuGothic"/>
              </a:rPr>
              <a:t>ウインド</a:t>
            </a:r>
            <a:endPar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endParaRPr>
          </a:p>
          <a:p>
            <a:pPr marL="12700" marR="5080" lvl="0" indent="0" algn="ctr" defTabSz="914400" eaLnBrk="1" fontAlgn="auto" latinLnBrk="0" hangingPunct="1">
              <a:lnSpc>
                <a:spcPct val="109400"/>
              </a:lnSpc>
              <a:spcBef>
                <a:spcPts val="100"/>
              </a:spcBef>
              <a:spcAft>
                <a:spcPts val="0"/>
              </a:spcAft>
              <a:buClrTx/>
              <a:buSzTx/>
              <a:buFontTx/>
              <a:buNone/>
              <a:tabLst/>
              <a:defRPr/>
            </a:pPr>
            <a:r>
              <a:rPr kumimoji="0" lang="ja-JP" altLang="en-US" sz="1400" b="1" i="0" u="none" strike="noStrike" kern="0" cap="none" spc="0" normalizeH="0" baseline="0" noProof="0" err="1">
                <a:ln>
                  <a:noFill/>
                </a:ln>
                <a:solidFill>
                  <a:srgbClr val="FFFFFF"/>
                </a:solidFill>
                <a:effectLst/>
                <a:uLnTx/>
                <a:uFillTx/>
                <a:latin typeface="Yu Gothic" panose="020B0400000000000000" pitchFamily="34" charset="-128"/>
                <a:ea typeface="Yu Gothic" panose="020B0400000000000000" pitchFamily="34" charset="-128"/>
                <a:cs typeface="YuGothic"/>
              </a:rPr>
              <a:t>チャレンジャー搭載隻数</a:t>
            </a:r>
            <a:endParaRPr kumimoji="0" sz="14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60" name="object 50">
            <a:extLst>
              <a:ext uri="{FF2B5EF4-FFF2-40B4-BE49-F238E27FC236}">
                <a16:creationId xmlns:a16="http://schemas.microsoft.com/office/drawing/2014/main" id="{DE2A2C70-AD51-42D3-9383-439B48236D8E}"/>
              </a:ext>
            </a:extLst>
          </p:cNvPr>
          <p:cNvSpPr txBox="1"/>
          <p:nvPr/>
        </p:nvSpPr>
        <p:spPr>
          <a:xfrm>
            <a:off x="4196930" y="4804133"/>
            <a:ext cx="2088000" cy="486608"/>
          </a:xfrm>
          <a:prstGeom prst="rect">
            <a:avLst/>
          </a:prstGeom>
          <a:solidFill>
            <a:schemeClr val="accent1">
              <a:lumMod val="75000"/>
              <a:alpha val="70000"/>
            </a:schemeClr>
          </a:solidFill>
        </p:spPr>
        <p:txBody>
          <a:bodyPr vert="horz" wrap="square" lIns="0" tIns="12700" rIns="0" bIns="0" rtlCol="0">
            <a:spAutoFit/>
          </a:bodyPr>
          <a:lstStyle/>
          <a:p>
            <a:pPr marL="12700" marR="5080" lvl="0" indent="0" algn="ctr" defTabSz="914400" eaLnBrk="1" fontAlgn="auto" latinLnBrk="0" hangingPunct="1">
              <a:lnSpc>
                <a:spcPct val="1094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a:t>
            </a:r>
            <a:endParaRPr kumimoji="0" lang="en-US" altLang="ja-JP"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endParaRPr>
          </a:p>
          <a:p>
            <a:pPr marL="12700" marR="5080" lvl="0" indent="0" algn="ctr" defTabSz="914400" eaLnBrk="1" fontAlgn="auto" latinLnBrk="0" hangingPunct="1">
              <a:lnSpc>
                <a:spcPct val="109400"/>
              </a:lnSpc>
              <a:spcBef>
                <a:spcPts val="100"/>
              </a:spcBef>
              <a:spcAft>
                <a:spcPts val="0"/>
              </a:spcAft>
              <a:buClrTx/>
              <a:buSzTx/>
              <a:buFontTx/>
              <a:buNone/>
              <a:tabLst/>
              <a:defRPr/>
            </a:pP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燃費効率</a:t>
            </a:r>
            <a:endParaRPr kumimoji="0" sz="14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61" name="object 13">
            <a:extLst>
              <a:ext uri="{FF2B5EF4-FFF2-40B4-BE49-F238E27FC236}">
                <a16:creationId xmlns:a16="http://schemas.microsoft.com/office/drawing/2014/main" id="{2BAD2558-9DA4-4E73-8424-A58CE733BFC3}"/>
              </a:ext>
            </a:extLst>
          </p:cNvPr>
          <p:cNvSpPr txBox="1"/>
          <p:nvPr/>
        </p:nvSpPr>
        <p:spPr>
          <a:xfrm>
            <a:off x="5371803" y="5598456"/>
            <a:ext cx="2088000" cy="473784"/>
          </a:xfrm>
          <a:prstGeom prst="rect">
            <a:avLst/>
          </a:prstGeom>
          <a:solidFill>
            <a:schemeClr val="accent1">
              <a:lumMod val="75000"/>
              <a:alpha val="70000"/>
            </a:schemeClr>
          </a:solidFill>
        </p:spPr>
        <p:txBody>
          <a:bodyPr vert="horz" wrap="square" lIns="0" tIns="12700" rIns="0" bIns="0" rtlCol="0">
            <a:spAutoFit/>
          </a:bodyPr>
          <a:lstStyle/>
          <a:p>
            <a:pPr marL="12700" marR="30480" lvl="0" indent="0" algn="ctr" defTabSz="914400" eaLnBrk="1" fontAlgn="auto" latinLnBrk="0" hangingPunct="1">
              <a:lnSpc>
                <a:spcPct val="109400"/>
              </a:lnSpc>
              <a:spcBef>
                <a:spcPts val="100"/>
              </a:spcBef>
              <a:spcAft>
                <a:spcPts val="0"/>
              </a:spcAft>
              <a:buClrTx/>
              <a:buSzTx/>
              <a:buFontTx/>
              <a:buNone/>
              <a:tabLst/>
              <a:defRPr/>
            </a:pPr>
            <a:r>
              <a:rPr kumimoji="0"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r>
              <a:rPr kumimoji="0" lang="ja-JP" altLang="en-US" sz="14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吸収・除去系カーボンクレジットの使用量</a:t>
            </a:r>
            <a:endParaRPr kumimoji="0" sz="14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62" name="四角形: 角を丸くする 161">
            <a:extLst>
              <a:ext uri="{FF2B5EF4-FFF2-40B4-BE49-F238E27FC236}">
                <a16:creationId xmlns:a16="http://schemas.microsoft.com/office/drawing/2014/main" id="{880CDBB5-C619-499D-9C91-1D4315A80A2F}"/>
              </a:ext>
            </a:extLst>
          </p:cNvPr>
          <p:cNvSpPr/>
          <p:nvPr/>
        </p:nvSpPr>
        <p:spPr>
          <a:xfrm>
            <a:off x="155552" y="5377676"/>
            <a:ext cx="1850927" cy="899885"/>
          </a:xfrm>
          <a:prstGeom prst="roundRect">
            <a:avLst/>
          </a:prstGeom>
          <a:solidFill>
            <a:srgbClr val="D5F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a:ln>
                  <a:noFill/>
                </a:ln>
                <a:solidFill>
                  <a:srgbClr val="FFFFFF">
                    <a:lumMod val="50000"/>
                  </a:srgbClr>
                </a:solidFill>
                <a:effectLst/>
                <a:uLnTx/>
                <a:uFillTx/>
                <a:latin typeface="Segoe UI"/>
                <a:ea typeface="游ゴシック Medium"/>
                <a:cs typeface="+mn-cs"/>
              </a:rPr>
              <a:t>【</a:t>
            </a:r>
            <a:r>
              <a:rPr kumimoji="1" lang="ja-JP" altLang="en-US" sz="1200" b="0" i="0" u="none" strike="noStrike" kern="0" cap="none" spc="0" normalizeH="0" baseline="0" noProof="0">
                <a:ln>
                  <a:noFill/>
                </a:ln>
                <a:solidFill>
                  <a:srgbClr val="FFFFFF">
                    <a:lumMod val="50000"/>
                  </a:srgbClr>
                </a:solidFill>
                <a:effectLst/>
                <a:uLnTx/>
                <a:uFillTx/>
                <a:latin typeface="Segoe UI"/>
                <a:ea typeface="游ゴシック Medium"/>
                <a:cs typeface="+mn-cs"/>
              </a:rPr>
              <a:t>凡例</a:t>
            </a:r>
            <a:r>
              <a:rPr kumimoji="0" lang="en-US" altLang="ja-JP" sz="1200" b="0" i="0" u="none" strike="noStrike" kern="0" cap="none" spc="0" normalizeH="0" baseline="0" noProof="0">
                <a:ln>
                  <a:noFill/>
                </a:ln>
                <a:solidFill>
                  <a:srgbClr val="FFFFFF">
                    <a:lumMod val="50000"/>
                  </a:srgbClr>
                </a:solidFill>
                <a:effectLst/>
                <a:uLnTx/>
                <a:uFillTx/>
                <a:latin typeface="Segoe UI"/>
                <a:ea typeface="游ゴシック Medium"/>
                <a:cs typeface="+mn-cs"/>
              </a:rPr>
              <a:t>】</a:t>
            </a:r>
            <a:endParaRPr kumimoji="1" lang="ja-JP" altLang="en-US" sz="1200" b="0" i="0" u="none" strike="noStrike" kern="0" cap="none" spc="0" normalizeH="0" baseline="0" noProof="0">
              <a:ln>
                <a:noFill/>
              </a:ln>
              <a:solidFill>
                <a:srgbClr val="FFFFFF">
                  <a:lumMod val="50000"/>
                </a:srgbClr>
              </a:solidFill>
              <a:effectLst/>
              <a:uLnTx/>
              <a:uFillTx/>
              <a:latin typeface="Segoe UI"/>
              <a:ea typeface="游ゴシック Medium"/>
              <a:cs typeface="+mn-cs"/>
            </a:endParaRPr>
          </a:p>
        </p:txBody>
      </p:sp>
      <p:pic>
        <p:nvPicPr>
          <p:cNvPr id="163" name="object 38">
            <a:extLst>
              <a:ext uri="{FF2B5EF4-FFF2-40B4-BE49-F238E27FC236}">
                <a16:creationId xmlns:a16="http://schemas.microsoft.com/office/drawing/2014/main" id="{4C54F1B9-8FD8-457D-8B44-BEACF2775087}"/>
              </a:ext>
            </a:extLst>
          </p:cNvPr>
          <p:cNvPicPr/>
          <p:nvPr/>
        </p:nvPicPr>
        <p:blipFill>
          <a:blip r:embed="rId32" cstate="print">
            <a:extLst>
              <a:ext uri="{28A0092B-C50C-407E-A947-70E740481C1C}">
                <a14:useLocalDpi xmlns:a14="http://schemas.microsoft.com/office/drawing/2010/main"/>
              </a:ext>
            </a:extLst>
          </a:blip>
          <a:stretch>
            <a:fillRect/>
          </a:stretch>
        </p:blipFill>
        <p:spPr>
          <a:xfrm>
            <a:off x="250107" y="5956875"/>
            <a:ext cx="1629148" cy="215499"/>
          </a:xfrm>
          <a:prstGeom prst="rect">
            <a:avLst/>
          </a:prstGeom>
        </p:spPr>
      </p:pic>
      <p:sp>
        <p:nvSpPr>
          <p:cNvPr id="164" name="テキスト ボックス 163">
            <a:extLst>
              <a:ext uri="{FF2B5EF4-FFF2-40B4-BE49-F238E27FC236}">
                <a16:creationId xmlns:a16="http://schemas.microsoft.com/office/drawing/2014/main" id="{6A03912F-2532-452F-BDE6-0E9F67002688}"/>
              </a:ext>
            </a:extLst>
          </p:cNvPr>
          <p:cNvSpPr txBox="1"/>
          <p:nvPr/>
        </p:nvSpPr>
        <p:spPr>
          <a:xfrm>
            <a:off x="250107" y="5942569"/>
            <a:ext cx="1624770" cy="276999"/>
          </a:xfrm>
          <a:prstGeom prst="rect">
            <a:avLst/>
          </a:prstGeom>
          <a:noFill/>
        </p:spPr>
        <p:txBody>
          <a:bodyPr wrap="square">
            <a:spAutoFit/>
          </a:bodyPr>
          <a:lstStyle/>
          <a:p>
            <a:pPr marL="0" marR="0" lvl="0" indent="0" algn="ctr" defTabSz="914400" eaLnBrk="1" fontAlgn="auto" latinLnBrk="0" hangingPunct="1">
              <a:lnSpc>
                <a:spcPct val="100000"/>
              </a:lnSpc>
              <a:spcBef>
                <a:spcPts val="280"/>
              </a:spcBef>
              <a:spcAft>
                <a:spcPts val="0"/>
              </a:spcAft>
              <a:buClrTx/>
              <a:buSzTx/>
              <a:buFontTx/>
              <a:buNone/>
              <a:tabLst/>
              <a:defRPr/>
            </a:pPr>
            <a:r>
              <a:rPr kumimoji="0" lang="ja-JP" altLang="en-US" sz="1200" b="1" i="0" u="none" strike="noStrike" kern="0" cap="none" spc="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マイルストーン</a:t>
            </a:r>
          </a:p>
        </p:txBody>
      </p:sp>
      <p:sp>
        <p:nvSpPr>
          <p:cNvPr id="165" name="object 6">
            <a:extLst>
              <a:ext uri="{FF2B5EF4-FFF2-40B4-BE49-F238E27FC236}">
                <a16:creationId xmlns:a16="http://schemas.microsoft.com/office/drawing/2014/main" id="{557C0164-8D6E-4FB1-B524-5962496F0111}"/>
              </a:ext>
            </a:extLst>
          </p:cNvPr>
          <p:cNvSpPr txBox="1"/>
          <p:nvPr/>
        </p:nvSpPr>
        <p:spPr>
          <a:xfrm>
            <a:off x="297754" y="5687086"/>
            <a:ext cx="1566259" cy="197490"/>
          </a:xfrm>
          <a:prstGeom prst="rect">
            <a:avLst/>
          </a:prstGeom>
          <a:solidFill>
            <a:schemeClr val="accent1">
              <a:lumMod val="75000"/>
              <a:alpha val="70000"/>
            </a:schemeClr>
          </a:solidFill>
        </p:spPr>
        <p:txBody>
          <a:bodyPr vert="horz" wrap="square" lIns="0" tIns="12700" rIns="0" bIns="0" rtlCol="0">
            <a:spAutoFit/>
          </a:body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a:ln>
                  <a:noFill/>
                </a:ln>
                <a:solidFill>
                  <a:srgbClr val="FFFFFF"/>
                </a:solidFill>
                <a:effectLst/>
                <a:uLnTx/>
                <a:uFillTx/>
                <a:latin typeface="Yu Gothic" panose="020B0400000000000000" pitchFamily="34" charset="-128"/>
                <a:ea typeface="Yu Gothic" panose="020B0400000000000000" pitchFamily="34" charset="-128"/>
                <a:cs typeface="YuGothic"/>
              </a:rPr>
              <a:t>KPI</a:t>
            </a:r>
            <a:endParaRPr kumimoji="0" sz="1200" b="1"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
        <p:nvSpPr>
          <p:cNvPr id="167" name="object 2">
            <a:extLst>
              <a:ext uri="{FF2B5EF4-FFF2-40B4-BE49-F238E27FC236}">
                <a16:creationId xmlns:a16="http://schemas.microsoft.com/office/drawing/2014/main" id="{54ACE2BC-5A69-4882-A5E1-79D69B3BF9B0}"/>
              </a:ext>
            </a:extLst>
          </p:cNvPr>
          <p:cNvSpPr txBox="1"/>
          <p:nvPr/>
        </p:nvSpPr>
        <p:spPr>
          <a:xfrm>
            <a:off x="984149" y="73227"/>
            <a:ext cx="2678477" cy="19749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altLang="ja-JP"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2.1</a:t>
            </a:r>
            <a:r>
              <a:rPr kumimoji="0" lang="ja-JP" altLang="en-US"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からの更新点</a:t>
            </a:r>
            <a:r>
              <a:rPr kumimoji="0" lang="en-US" altLang="ja-JP"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rPr>
              <a:t>-2</a:t>
            </a:r>
            <a:endParaRPr kumimoji="0" sz="1200" b="0" i="0" u="none" strike="noStrike" kern="0" cap="none" spc="0" normalizeH="0" baseline="0" noProof="0">
              <a:ln>
                <a:noFill/>
              </a:ln>
              <a:solidFill>
                <a:srgbClr val="00A69A"/>
              </a:solidFill>
              <a:effectLst/>
              <a:uLnTx/>
              <a:uFillTx/>
              <a:latin typeface="Yu Gothic Medium" panose="020B0400000000000000" pitchFamily="34" charset="-128"/>
              <a:ea typeface="Yu Gothic Medium" panose="020B0400000000000000" pitchFamily="34" charset="-128"/>
              <a:cs typeface="YuGothicStd-M"/>
            </a:endParaRPr>
          </a:p>
        </p:txBody>
      </p:sp>
      <p:sp>
        <p:nvSpPr>
          <p:cNvPr id="168" name="矢印: 五方向 167">
            <a:extLst>
              <a:ext uri="{FF2B5EF4-FFF2-40B4-BE49-F238E27FC236}">
                <a16:creationId xmlns:a16="http://schemas.microsoft.com/office/drawing/2014/main" id="{D2B6BDE5-3688-4C92-9A41-23C80EE26378}"/>
              </a:ext>
            </a:extLst>
          </p:cNvPr>
          <p:cNvSpPr/>
          <p:nvPr/>
        </p:nvSpPr>
        <p:spPr>
          <a:xfrm>
            <a:off x="10642886" y="290971"/>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4</a:t>
            </a:r>
            <a:endPar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169" name="矢印: 五方向 168">
            <a:extLst>
              <a:ext uri="{FF2B5EF4-FFF2-40B4-BE49-F238E27FC236}">
                <a16:creationId xmlns:a16="http://schemas.microsoft.com/office/drawing/2014/main" id="{4ED543EC-6EAA-4A93-BDFC-B5A88FAF193C}"/>
              </a:ext>
            </a:extLst>
          </p:cNvPr>
          <p:cNvSpPr/>
          <p:nvPr/>
        </p:nvSpPr>
        <p:spPr>
          <a:xfrm>
            <a:off x="10163578" y="290971"/>
            <a:ext cx="600928" cy="329877"/>
          </a:xfrm>
          <a:prstGeom prst="homePlate">
            <a:avLst/>
          </a:prstGeom>
          <a:gradFill flip="none" rotWithShape="1">
            <a:gsLst>
              <a:gs pos="0">
                <a:schemeClr val="accent1">
                  <a:lumMod val="5000"/>
                  <a:lumOff val="95000"/>
                </a:schemeClr>
              </a:gs>
              <a:gs pos="5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3</a:t>
            </a:r>
            <a:endPar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endParaRPr>
          </a:p>
        </p:txBody>
      </p:sp>
      <p:sp>
        <p:nvSpPr>
          <p:cNvPr id="170" name="矢印: 五方向 169">
            <a:extLst>
              <a:ext uri="{FF2B5EF4-FFF2-40B4-BE49-F238E27FC236}">
                <a16:creationId xmlns:a16="http://schemas.microsoft.com/office/drawing/2014/main" id="{8BF8CA09-D0E9-4B2C-8B30-BAC09FF760AF}"/>
              </a:ext>
            </a:extLst>
          </p:cNvPr>
          <p:cNvSpPr/>
          <p:nvPr/>
        </p:nvSpPr>
        <p:spPr>
          <a:xfrm>
            <a:off x="7432161" y="290971"/>
            <a:ext cx="2859130" cy="329877"/>
          </a:xfrm>
          <a:prstGeom prst="homePlate">
            <a:avLst/>
          </a:prstGeom>
          <a:gradFill flip="none" rotWithShape="1">
            <a:gsLst>
              <a:gs pos="0">
                <a:schemeClr val="accent1">
                  <a:lumMod val="5000"/>
                  <a:lumOff val="95000"/>
                </a:schemeClr>
              </a:gs>
              <a:gs pos="20000">
                <a:srgbClr val="29B4AC"/>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2.</a:t>
            </a: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環境ビジョン</a:t>
            </a:r>
            <a:r>
              <a:rPr kumimoji="1" lang="en-US" altLang="ja-JP" sz="1400" b="0" i="0" u="none" strike="noStrike" kern="0" cap="none" spc="0" normalizeH="0" baseline="0" noProof="0">
                <a:ln>
                  <a:noFill/>
                </a:ln>
                <a:solidFill>
                  <a:srgbClr val="FFFFFF"/>
                </a:solidFill>
                <a:effectLst/>
                <a:uLnTx/>
                <a:uFillTx/>
                <a:latin typeface="Segoe UI"/>
                <a:ea typeface="游ゴシック Medium"/>
                <a:cs typeface="+mn-cs"/>
              </a:rPr>
              <a:t>2.2</a:t>
            </a: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の全体像</a:t>
            </a:r>
          </a:p>
        </p:txBody>
      </p:sp>
      <p:sp>
        <p:nvSpPr>
          <p:cNvPr id="171" name="矢印: 五方向 170">
            <a:extLst>
              <a:ext uri="{FF2B5EF4-FFF2-40B4-BE49-F238E27FC236}">
                <a16:creationId xmlns:a16="http://schemas.microsoft.com/office/drawing/2014/main" id="{8BC1B50C-7039-4E3A-A4AF-AF6851743C79}"/>
              </a:ext>
            </a:extLst>
          </p:cNvPr>
          <p:cNvSpPr/>
          <p:nvPr/>
        </p:nvSpPr>
        <p:spPr>
          <a:xfrm>
            <a:off x="7298690" y="290971"/>
            <a:ext cx="600928" cy="329877"/>
          </a:xfrm>
          <a:prstGeom prst="homePlate">
            <a:avLst/>
          </a:prstGeom>
          <a:gradFill flip="none" rotWithShape="1">
            <a:gsLst>
              <a:gs pos="0">
                <a:schemeClr val="accent1">
                  <a:lumMod val="5000"/>
                  <a:lumOff val="95000"/>
                </a:schemeClr>
              </a:gs>
              <a:gs pos="50000">
                <a:schemeClr val="tx1">
                  <a:lumMod val="20000"/>
                  <a:lumOff val="80000"/>
                </a:schemeClr>
              </a:gs>
              <a:gs pos="100000">
                <a:schemeClr val="tx1">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a:ln>
                  <a:noFill/>
                </a:ln>
                <a:solidFill>
                  <a:srgbClr val="FFFFFF"/>
                </a:solidFill>
                <a:effectLst/>
                <a:uLnTx/>
                <a:uFillTx/>
                <a:latin typeface="Segoe UI"/>
                <a:ea typeface="游ゴシック Medium"/>
                <a:cs typeface="+mn-cs"/>
              </a:rPr>
              <a:t>１</a:t>
            </a:r>
          </a:p>
        </p:txBody>
      </p:sp>
      <p:sp>
        <p:nvSpPr>
          <p:cNvPr id="166" name="object 4">
            <a:extLst>
              <a:ext uri="{FF2B5EF4-FFF2-40B4-BE49-F238E27FC236}">
                <a16:creationId xmlns:a16="http://schemas.microsoft.com/office/drawing/2014/main" id="{112BD2EE-3434-42EC-B1AC-05DA51F34AEE}"/>
              </a:ext>
            </a:extLst>
          </p:cNvPr>
          <p:cNvSpPr txBox="1">
            <a:spLocks/>
          </p:cNvSpPr>
          <p:nvPr/>
        </p:nvSpPr>
        <p:spPr>
          <a:xfrm>
            <a:off x="0" y="165150"/>
            <a:ext cx="864000" cy="705321"/>
          </a:xfrm>
          <a:prstGeom prst="rect">
            <a:avLst/>
          </a:prstGeom>
        </p:spPr>
        <p:txBody>
          <a:bodyPr vert="horz" wrap="square" lIns="0" tIns="12700" rIns="0" bIns="0" rtlCol="0">
            <a:spAutoFit/>
          </a:bodyPr>
          <a:lstStyle>
            <a:lvl1pPr>
              <a:defRPr>
                <a:latin typeface="+mj-lt"/>
                <a:ea typeface="+mj-ea"/>
                <a:cs typeface="+mj-cs"/>
              </a:defRPr>
            </a:lvl1pPr>
          </a:lstStyle>
          <a:p>
            <a:pPr marL="12700" marR="0" lvl="0" indent="0" algn="ctr" defTabSz="914400" eaLnBrk="1" fontAlgn="auto" latinLnBrk="0" hangingPunct="1">
              <a:lnSpc>
                <a:spcPct val="100000"/>
              </a:lnSpc>
              <a:spcBef>
                <a:spcPts val="100"/>
              </a:spcBef>
              <a:spcAft>
                <a:spcPts val="0"/>
              </a:spcAft>
              <a:buClrTx/>
              <a:buSzTx/>
              <a:buFontTx/>
              <a:buNone/>
              <a:tabLst/>
              <a:defRPr/>
            </a:pPr>
            <a:r>
              <a:rPr kumimoji="0" lang="en-US" altLang="ja-JP" sz="4500" b="0" i="0" u="none" strike="noStrike" kern="0" cap="none" spc="0" normalizeH="0" baseline="0" noProof="0">
                <a:ln>
                  <a:noFill/>
                </a:ln>
                <a:solidFill>
                  <a:srgbClr val="FFFFFF"/>
                </a:solidFill>
                <a:effectLst/>
                <a:uLnTx/>
                <a:uFillTx/>
                <a:latin typeface="Yu Gothic Light" panose="020B0300000000000000" pitchFamily="34" charset="-128"/>
                <a:ea typeface="Yu Gothic Light" panose="020B0300000000000000" pitchFamily="34" charset="-128"/>
                <a:cs typeface="+mj-cs"/>
              </a:rPr>
              <a:t>2</a:t>
            </a:r>
          </a:p>
        </p:txBody>
      </p:sp>
      <p:sp>
        <p:nvSpPr>
          <p:cNvPr id="172" name="object 2">
            <a:extLst>
              <a:ext uri="{FF2B5EF4-FFF2-40B4-BE49-F238E27FC236}">
                <a16:creationId xmlns:a16="http://schemas.microsoft.com/office/drawing/2014/main" id="{460D6088-2F54-4257-AAA3-4931B75C9EAB}"/>
              </a:ext>
            </a:extLst>
          </p:cNvPr>
          <p:cNvSpPr txBox="1"/>
          <p:nvPr/>
        </p:nvSpPr>
        <p:spPr>
          <a:xfrm>
            <a:off x="1" y="75317"/>
            <a:ext cx="864000" cy="197293"/>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Yu Gothic Medium" panose="020B0400000000000000" pitchFamily="34" charset="-128"/>
                <a:ea typeface="Yu Gothic Medium" panose="020B0400000000000000" pitchFamily="34" charset="-128"/>
                <a:cs typeface="YuGothicStd-M"/>
              </a:rPr>
              <a:t>Section</a:t>
            </a:r>
            <a:endParaRPr kumimoji="0" sz="1200" b="0" i="0" u="none" strike="noStrike" kern="0" cap="none" spc="0" normalizeH="0" baseline="0" noProof="0">
              <a:ln>
                <a:noFill/>
              </a:ln>
              <a:solidFill>
                <a:srgbClr val="FFFFFF"/>
              </a:solidFill>
              <a:effectLst/>
              <a:uLnTx/>
              <a:uFillTx/>
              <a:latin typeface="Yu Gothic Medium" panose="020B0400000000000000" pitchFamily="34" charset="-128"/>
              <a:ea typeface="Yu Gothic Medium" panose="020B0400000000000000" pitchFamily="34" charset="-128"/>
              <a:cs typeface="YuGothicStd-M"/>
            </a:endParaRPr>
          </a:p>
        </p:txBody>
      </p:sp>
      <p:sp>
        <p:nvSpPr>
          <p:cNvPr id="173" name="object 18">
            <a:extLst>
              <a:ext uri="{FF2B5EF4-FFF2-40B4-BE49-F238E27FC236}">
                <a16:creationId xmlns:a16="http://schemas.microsoft.com/office/drawing/2014/main" id="{36F2BD91-836A-43C7-A861-A013E93F018C}"/>
              </a:ext>
            </a:extLst>
          </p:cNvPr>
          <p:cNvSpPr txBox="1"/>
          <p:nvPr/>
        </p:nvSpPr>
        <p:spPr>
          <a:xfrm>
            <a:off x="8615798" y="5209537"/>
            <a:ext cx="851611" cy="177662"/>
          </a:xfrm>
          <a:prstGeom prst="rect">
            <a:avLst/>
          </a:prstGeom>
        </p:spPr>
        <p:txBody>
          <a:bodyPr vert="horz" wrap="square" lIns="0" tIns="17145" rIns="0" bIns="0" rtlCol="0">
            <a:spAutoFit/>
          </a:bodyPr>
          <a:lstStyle/>
          <a:p>
            <a:pPr marL="12700" marR="0" lvl="0" indent="0" algn="ctr" defTabSz="914400" eaLnBrk="1" fontAlgn="auto" latinLnBrk="0" hangingPunct="1">
              <a:lnSpc>
                <a:spcPct val="100000"/>
              </a:lnSpc>
              <a:spcBef>
                <a:spcPts val="135"/>
              </a:spcBef>
              <a:spcAft>
                <a:spcPts val="0"/>
              </a:spcAft>
              <a:buClrTx/>
              <a:buSzTx/>
              <a:buFontTx/>
              <a:buNone/>
              <a:tabLst/>
              <a:defRPr/>
            </a:pPr>
            <a:r>
              <a:rPr kumimoji="0" sz="1050" b="1" i="0" u="none" strike="noStrike" kern="0" cap="none" spc="-25"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a:t>
            </a:r>
            <a:r>
              <a:rPr kumimoji="0" lang="ja-JP" altLang="en-US" sz="1050" b="1" i="0" u="none" strike="noStrike" kern="0" cap="none" spc="-25"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累計</a:t>
            </a:r>
            <a:r>
              <a:rPr kumimoji="0" sz="1050" b="1" i="0" u="none" strike="noStrike" kern="0" cap="none" spc="-40" normalizeH="0" baseline="0" noProof="0">
                <a:ln>
                  <a:noFill/>
                </a:ln>
                <a:solidFill>
                  <a:srgbClr val="00A69A"/>
                </a:solidFill>
                <a:effectLst/>
                <a:uLnTx/>
                <a:uFillTx/>
                <a:latin typeface="Yu Gothic" panose="020B0400000000000000" pitchFamily="34" charset="-128"/>
                <a:ea typeface="Yu Gothic" panose="020B0400000000000000" pitchFamily="34" charset="-128"/>
                <a:cs typeface="YuGothic"/>
              </a:rPr>
              <a:t>)</a:t>
            </a:r>
            <a:endParaRPr kumimoji="0" sz="1050" b="0" i="0" u="none" strike="noStrike" kern="0" cap="none" spc="0" normalizeH="0" baseline="0" noProof="0">
              <a:ln>
                <a:noFill/>
              </a:ln>
              <a:solidFill>
                <a:sysClr val="windowText" lastClr="000000"/>
              </a:solidFill>
              <a:effectLst/>
              <a:uLnTx/>
              <a:uFillTx/>
              <a:latin typeface="Yu Gothic" panose="020B0400000000000000" pitchFamily="34" charset="-128"/>
              <a:ea typeface="Yu Gothic" panose="020B0400000000000000" pitchFamily="34" charset="-128"/>
              <a:cs typeface="YuGothic"/>
            </a:endParaRPr>
          </a:p>
        </p:txBody>
      </p:sp>
    </p:spTree>
    <p:extLst>
      <p:ext uri="{BB962C8B-B14F-4D97-AF65-F5344CB8AC3E}">
        <p14:creationId xmlns:p14="http://schemas.microsoft.com/office/powerpoint/2010/main" val="9529606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OLフォーマット-jp">
  <a:themeElements>
    <a:clrScheme name="MOL-Color-230204">
      <a:dk1>
        <a:srgbClr val="59595D"/>
      </a:dk1>
      <a:lt1>
        <a:srgbClr val="FFFFFF"/>
      </a:lt1>
      <a:dk2>
        <a:srgbClr val="0053A6"/>
      </a:dk2>
      <a:lt2>
        <a:srgbClr val="FFFFFF"/>
      </a:lt2>
      <a:accent1>
        <a:srgbClr val="005396"/>
      </a:accent1>
      <a:accent2>
        <a:srgbClr val="00A0DC"/>
      </a:accent2>
      <a:accent3>
        <a:srgbClr val="00A69A"/>
      </a:accent3>
      <a:accent4>
        <a:srgbClr val="51A120"/>
      </a:accent4>
      <a:accent5>
        <a:srgbClr val="ACC60E"/>
      </a:accent5>
      <a:accent6>
        <a:srgbClr val="F3901E"/>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10.xml><?xml version="1.0" encoding="utf-8"?>
<a:theme xmlns:a="http://schemas.openxmlformats.org/drawingml/2006/main" name="3_テーマ別-環境-jp">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5875"/>
      </a:spPr>
      <a:bodyPr rtlCol="0" anchor="ctr"/>
      <a:lstStyle>
        <a:defPPr algn="ctr">
          <a:defRPr kumimoji="1"/>
        </a:defPPr>
      </a:lstStyle>
      <a:style>
        <a:lnRef idx="1">
          <a:schemeClr val="accent2"/>
        </a:lnRef>
        <a:fillRef idx="0">
          <a:schemeClr val="accent2"/>
        </a:fillRef>
        <a:effectRef idx="0">
          <a:schemeClr val="accent2"/>
        </a:effectRef>
        <a:fontRef idx="minor">
          <a:schemeClr val="tx1"/>
        </a:fontRef>
      </a:style>
    </a:spDef>
    <a:txDef>
      <a:spPr>
        <a:noFill/>
      </a:spPr>
      <a:bodyPr wrap="none" rtlCol="0">
        <a:spAutoFit/>
      </a:bodyPr>
      <a:lstStyle>
        <a:defPPr algn="l">
          <a:defRPr kumimoji="1" dirty="0" smtClean="0">
            <a:latin typeface="+mn-lt"/>
            <a:ea typeface="+mn-ea"/>
          </a:defRPr>
        </a:defPPr>
      </a:lstStyle>
    </a:txDef>
  </a:objectDefaults>
  <a:extraClrSchemeLst/>
</a:theme>
</file>

<file path=ppt/theme/theme11.xml><?xml version="1.0" encoding="utf-8"?>
<a:theme xmlns:a="http://schemas.openxmlformats.org/drawingml/2006/main" name="1_MOLフォーマット-jp">
  <a:themeElements>
    <a:clrScheme name="MOL_Color">
      <a:dk1>
        <a:srgbClr val="59595D"/>
      </a:dk1>
      <a:lt1>
        <a:srgbClr val="FFFFFF"/>
      </a:lt1>
      <a:dk2>
        <a:srgbClr val="0053A6"/>
      </a:dk2>
      <a:lt2>
        <a:srgbClr val="FFFFFF"/>
      </a:lt2>
      <a:accent1>
        <a:srgbClr val="005396"/>
      </a:accent1>
      <a:accent2>
        <a:srgbClr val="00A0DC"/>
      </a:accent2>
      <a:accent3>
        <a:srgbClr val="00A69A"/>
      </a:accent3>
      <a:accent4>
        <a:srgbClr val="51A120"/>
      </a:accent4>
      <a:accent5>
        <a:srgbClr val="ACC60E"/>
      </a:accent5>
      <a:accent6>
        <a:srgbClr val="F3901E"/>
      </a:accent6>
      <a:hlink>
        <a:srgbClr val="0000FF"/>
      </a:hlink>
      <a:folHlink>
        <a:srgbClr val="800080"/>
      </a:folHlink>
    </a:clrScheme>
    <a:fontScheme name="MOL 2023">
      <a:majorFont>
        <a:latin typeface="Segoe UI"/>
        <a:ea typeface="Meiryo UI"/>
        <a:cs typeface=""/>
      </a:majorFont>
      <a:minorFont>
        <a:latin typeface="Segoe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12.xml><?xml version="1.0" encoding="utf-8"?>
<a:theme xmlns:a="http://schemas.openxmlformats.org/drawingml/2006/main" name="2_MOLフォーマット-jp">
  <a:themeElements>
    <a:clrScheme name="MOL_Color">
      <a:dk1>
        <a:srgbClr val="59595D"/>
      </a:dk1>
      <a:lt1>
        <a:srgbClr val="FFFFFF"/>
      </a:lt1>
      <a:dk2>
        <a:srgbClr val="0053A6"/>
      </a:dk2>
      <a:lt2>
        <a:srgbClr val="FFFFFF"/>
      </a:lt2>
      <a:accent1>
        <a:srgbClr val="005396"/>
      </a:accent1>
      <a:accent2>
        <a:srgbClr val="00A0DC"/>
      </a:accent2>
      <a:accent3>
        <a:srgbClr val="00A69A"/>
      </a:accent3>
      <a:accent4>
        <a:srgbClr val="51A120"/>
      </a:accent4>
      <a:accent5>
        <a:srgbClr val="ACC60E"/>
      </a:accent5>
      <a:accent6>
        <a:srgbClr val="F3901E"/>
      </a:accent6>
      <a:hlink>
        <a:srgbClr val="0000FF"/>
      </a:hlink>
      <a:folHlink>
        <a:srgbClr val="800080"/>
      </a:folHlink>
    </a:clrScheme>
    <a:fontScheme name="MOL 2023">
      <a:majorFont>
        <a:latin typeface="Segoe UI"/>
        <a:ea typeface="Meiryo UI"/>
        <a:cs typeface=""/>
      </a:majorFont>
      <a:minorFont>
        <a:latin typeface="Segoe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13.xml><?xml version="1.0" encoding="utf-8"?>
<a:theme xmlns:a="http://schemas.openxmlformats.org/drawingml/2006/main" name="3_MOLフォーマット-jp">
  <a:themeElements>
    <a:clrScheme name="MOL_Color">
      <a:dk1>
        <a:srgbClr val="59595D"/>
      </a:dk1>
      <a:lt1>
        <a:srgbClr val="FFFFFF"/>
      </a:lt1>
      <a:dk2>
        <a:srgbClr val="0053A6"/>
      </a:dk2>
      <a:lt2>
        <a:srgbClr val="FFFFFF"/>
      </a:lt2>
      <a:accent1>
        <a:srgbClr val="005396"/>
      </a:accent1>
      <a:accent2>
        <a:srgbClr val="00A0DC"/>
      </a:accent2>
      <a:accent3>
        <a:srgbClr val="00A69A"/>
      </a:accent3>
      <a:accent4>
        <a:srgbClr val="51A120"/>
      </a:accent4>
      <a:accent5>
        <a:srgbClr val="ACC60E"/>
      </a:accent5>
      <a:accent6>
        <a:srgbClr val="F3901E"/>
      </a:accent6>
      <a:hlink>
        <a:srgbClr val="0000FF"/>
      </a:hlink>
      <a:folHlink>
        <a:srgbClr val="800080"/>
      </a:folHlink>
    </a:clrScheme>
    <a:fontScheme name="MOL 2023">
      <a:majorFont>
        <a:latin typeface="Segoe UI"/>
        <a:ea typeface="Meiryo UI"/>
        <a:cs typeface=""/>
      </a:majorFont>
      <a:minorFont>
        <a:latin typeface="Segoe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Lフォーマット-en">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3.xml><?xml version="1.0" encoding="utf-8"?>
<a:theme xmlns:a="http://schemas.openxmlformats.org/drawingml/2006/main" name="テーマ別-環境-jp">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4.xml><?xml version="1.0" encoding="utf-8"?>
<a:theme xmlns:a="http://schemas.openxmlformats.org/drawingml/2006/main" name="1_テーマ別-環境-en">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5.xml><?xml version="1.0" encoding="utf-8"?>
<a:theme xmlns:a="http://schemas.openxmlformats.org/drawingml/2006/main" name="2_テーマ別-環境-jp">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6.xml><?xml version="1.0" encoding="utf-8"?>
<a:theme xmlns:a="http://schemas.openxmlformats.org/drawingml/2006/main" name="6_テーマ別-環境-jp">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7.xml><?xml version="1.0" encoding="utf-8"?>
<a:theme xmlns:a="http://schemas.openxmlformats.org/drawingml/2006/main" name="5_テーマ別-環境-jp">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8.xml><?xml version="1.0" encoding="utf-8"?>
<a:theme xmlns:a="http://schemas.openxmlformats.org/drawingml/2006/main" name="1_テーマ別-環境-jp">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2023">
      <a:majorFont>
        <a:latin typeface="Segoe UI"/>
        <a:ea typeface="游ゴシック"/>
        <a:cs typeface=""/>
      </a:majorFont>
      <a:minorFont>
        <a:latin typeface="Segoe UI"/>
        <a:ea typeface="游ゴシック Medium"/>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ppt/theme/theme9.xml><?xml version="1.0" encoding="utf-8"?>
<a:theme xmlns:a="http://schemas.openxmlformats.org/drawingml/2006/main" name="MOL Standard Format (En)">
  <a:themeElements>
    <a:clrScheme name="MOL-Color-230203">
      <a:dk1>
        <a:srgbClr val="59595D"/>
      </a:dk1>
      <a:lt1>
        <a:srgbClr val="FFFFFF"/>
      </a:lt1>
      <a:dk2>
        <a:srgbClr val="0053A6"/>
      </a:dk2>
      <a:lt2>
        <a:srgbClr val="FFFFFF"/>
      </a:lt2>
      <a:accent1>
        <a:srgbClr val="005396"/>
      </a:accent1>
      <a:accent2>
        <a:srgbClr val="00A0DC"/>
      </a:accent2>
      <a:accent3>
        <a:srgbClr val="00A69A"/>
      </a:accent3>
      <a:accent4>
        <a:srgbClr val="51A13E"/>
      </a:accent4>
      <a:accent5>
        <a:srgbClr val="B3AA00"/>
      </a:accent5>
      <a:accent6>
        <a:srgbClr val="E67D46"/>
      </a:accent6>
      <a:hlink>
        <a:srgbClr val="0000FF"/>
      </a:hlink>
      <a:folHlink>
        <a:srgbClr val="800080"/>
      </a:folHlink>
    </a:clrScheme>
    <a:fontScheme name="MOL 2023">
      <a:majorFont>
        <a:latin typeface="Segoe UI"/>
        <a:ea typeface="Meiryo UI"/>
        <a:cs typeface=""/>
      </a:majorFont>
      <a:minorFont>
        <a:latin typeface="Segoe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kumimoji="1" dirty="0" smtClean="0">
            <a:latin typeface="+mn-lt"/>
            <a:ea typeface="+mn-ea"/>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C29120C997ED14D92AE157E9A26AA92" ma:contentTypeVersion="11" ma:contentTypeDescription="新しいドキュメントを作成します。" ma:contentTypeScope="" ma:versionID="e9da888415c8b0f33cf2b180097cf1e4">
  <xsd:schema xmlns:xsd="http://www.w3.org/2001/XMLSchema" xmlns:xs="http://www.w3.org/2001/XMLSchema" xmlns:p="http://schemas.microsoft.com/office/2006/metadata/properties" xmlns:ns2="22ae81f0-820b-4f5b-b371-23ce14f588dd" xmlns:ns3="5c74fcad-0c4f-4881-8948-847f27c4effd" targetNamespace="http://schemas.microsoft.com/office/2006/metadata/properties" ma:root="true" ma:fieldsID="7785939f9f8fda857f7b7dbd5ea91ed5" ns2:_="" ns3:_="">
    <xsd:import namespace="22ae81f0-820b-4f5b-b371-23ce14f588dd"/>
    <xsd:import namespace="5c74fcad-0c4f-4881-8948-847f27c4eff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ae81f0-820b-4f5b-b371-23ce14f588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a918cba4-e3c0-4eac-a92c-ad70031d98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c74fcad-0c4f-4881-8948-847f27c4effd"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248a5724-5058-41fa-b257-b4108247f33b}" ma:internalName="TaxCatchAll" ma:showField="CatchAllData" ma:web="5c74fcad-0c4f-4881-8948-847f27c4eff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c74fcad-0c4f-4881-8948-847f27c4effd" xsi:nil="true"/>
    <lcf76f155ced4ddcb4097134ff3c332f xmlns="22ae81f0-820b-4f5b-b371-23ce14f588dd">
      <Terms xmlns="http://schemas.microsoft.com/office/infopath/2007/PartnerControls"/>
    </lcf76f155ced4ddcb4097134ff3c332f>
    <MediaLengthInSeconds xmlns="22ae81f0-820b-4f5b-b371-23ce14f588dd" xsi:nil="true"/>
  </documentManagement>
</p:properties>
</file>

<file path=customXml/itemProps1.xml><?xml version="1.0" encoding="utf-8"?>
<ds:datastoreItem xmlns:ds="http://schemas.openxmlformats.org/officeDocument/2006/customXml" ds:itemID="{8E46A502-3CB5-424A-9018-FF4DFE5057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ae81f0-820b-4f5b-b371-23ce14f588dd"/>
    <ds:schemaRef ds:uri="5c74fcad-0c4f-4881-8948-847f27c4ef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35B6D74-0A0C-4D06-89E3-D15AD17F82DF}">
  <ds:schemaRefs>
    <ds:schemaRef ds:uri="http://schemas.microsoft.com/sharepoint/v3/contenttype/forms"/>
  </ds:schemaRefs>
</ds:datastoreItem>
</file>

<file path=customXml/itemProps3.xml><?xml version="1.0" encoding="utf-8"?>
<ds:datastoreItem xmlns:ds="http://schemas.openxmlformats.org/officeDocument/2006/customXml" ds:itemID="{A438B669-9EA3-4081-A434-78BA3B2CD636}">
  <ds:schemaRefs>
    <ds:schemaRef ds:uri="http://schemas.microsoft.com/office/2006/metadata/properties"/>
    <ds:schemaRef ds:uri="22ae81f0-820b-4f5b-b371-23ce14f588dd"/>
    <ds:schemaRef ds:uri="http://purl.org/dc/elements/1.1/"/>
    <ds:schemaRef ds:uri="http://purl.org/dc/dcmitype/"/>
    <ds:schemaRef ds:uri="http://schemas.microsoft.com/office/2006/documentManagement/types"/>
    <ds:schemaRef ds:uri="http://purl.org/dc/terms/"/>
    <ds:schemaRef ds:uri="5c74fcad-0c4f-4881-8948-847f27c4effd"/>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2085</TotalTime>
  <Words>3092</Words>
  <Application>Microsoft Office PowerPoint</Application>
  <PresentationFormat>ワイド画面</PresentationFormat>
  <Paragraphs>374</Paragraphs>
  <Slides>20</Slides>
  <Notes>8</Notes>
  <HiddenSlides>0</HiddenSlides>
  <MMClips>0</MMClips>
  <ScaleCrop>false</ScaleCrop>
  <HeadingPairs>
    <vt:vector size="8" baseType="variant">
      <vt:variant>
        <vt:lpstr>使用されているフォント</vt:lpstr>
      </vt:variant>
      <vt:variant>
        <vt:i4>13</vt:i4>
      </vt:variant>
      <vt:variant>
        <vt:lpstr>テーマ</vt:lpstr>
      </vt:variant>
      <vt:variant>
        <vt:i4>13</vt:i4>
      </vt:variant>
      <vt:variant>
        <vt:lpstr>埋め込まれた OLE サーバー</vt:lpstr>
      </vt:variant>
      <vt:variant>
        <vt:i4>1</vt:i4>
      </vt:variant>
      <vt:variant>
        <vt:lpstr>スライド タイトル</vt:lpstr>
      </vt:variant>
      <vt:variant>
        <vt:i4>20</vt:i4>
      </vt:variant>
    </vt:vector>
  </HeadingPairs>
  <TitlesOfParts>
    <vt:vector size="47" baseType="lpstr">
      <vt:lpstr>Meiryo UI</vt:lpstr>
      <vt:lpstr>Noto Sans JP</vt:lpstr>
      <vt:lpstr>YuGothicStd-L</vt:lpstr>
      <vt:lpstr>Meiryo</vt:lpstr>
      <vt:lpstr>Meiryo</vt:lpstr>
      <vt:lpstr>Yu Gothic</vt:lpstr>
      <vt:lpstr>Yu Gothic</vt:lpstr>
      <vt:lpstr>Yu Gothic Light</vt:lpstr>
      <vt:lpstr>游ゴシック Medium</vt:lpstr>
      <vt:lpstr>游ゴシック Medium</vt:lpstr>
      <vt:lpstr>Arial</vt:lpstr>
      <vt:lpstr>Segoe UI</vt:lpstr>
      <vt:lpstr>Wingdings</vt:lpstr>
      <vt:lpstr>MOLフォーマット-jp</vt:lpstr>
      <vt:lpstr>MOLフォーマット-en</vt:lpstr>
      <vt:lpstr>テーマ別-環境-jp</vt:lpstr>
      <vt:lpstr>1_テーマ別-環境-en</vt:lpstr>
      <vt:lpstr>2_テーマ別-環境-jp</vt:lpstr>
      <vt:lpstr>6_テーマ別-環境-jp</vt:lpstr>
      <vt:lpstr>5_テーマ別-環境-jp</vt:lpstr>
      <vt:lpstr>1_テーマ別-環境-jp</vt:lpstr>
      <vt:lpstr>MOL Standard Format (En)</vt:lpstr>
      <vt:lpstr>3_テーマ別-環境-jp</vt:lpstr>
      <vt:lpstr>1_MOLフォーマット-jp</vt:lpstr>
      <vt:lpstr>2_MOLフォーマット-jp</vt:lpstr>
      <vt:lpstr>3_MOLフォーマット-jp</vt:lpstr>
      <vt:lpstr>think-cell スライド</vt:lpstr>
      <vt:lpstr>日本初のLNG燃料フェリー 「さんふらわあ くれない・むらさき」と 商船三井グループの環境取組み</vt:lpstr>
      <vt:lpstr>目次タイトル</vt:lpstr>
      <vt:lpstr>PowerPoint プレゼンテーション</vt:lpstr>
      <vt:lpstr>PowerPoint プレゼンテーション</vt:lpstr>
      <vt:lpstr>目次タイトル</vt:lpstr>
      <vt:lpstr>商船三井グループのサステナビリティ経営</vt:lpstr>
      <vt:lpstr>PowerPoint プレゼンテーション</vt:lpstr>
      <vt:lpstr>ネットゼロ・エミッションへのPathwayの具体化</vt:lpstr>
      <vt:lpstr>KPI&amp;マイルストーンの整備</vt:lpstr>
      <vt:lpstr>目次タイトル</vt:lpstr>
      <vt:lpstr>LNG燃料フェリー「さんふらわあ くれない・むらさき」の概要 　</vt:lpstr>
      <vt:lpstr>LNG燃料フェリー「さんふらわあ くれない・むらさき」の概要　～環境への配慮～ 　</vt:lpstr>
      <vt:lpstr>LNG燃料フェリー「さんふらわあ くれない・むらさき」の概要　～お客様の快適性～ 　</vt:lpstr>
      <vt:lpstr>LNG燃料フェリー「さんふらわあ くれない・むらさき」の概要　～お客様の快適性～ 　</vt:lpstr>
      <vt:lpstr>PowerPoint プレゼンテーション</vt:lpstr>
      <vt:lpstr>PowerPoint プレゼンテーション</vt:lpstr>
      <vt:lpstr>PowerPoint プレゼンテーション</vt:lpstr>
      <vt:lpstr>目次タイトル</vt:lpstr>
      <vt:lpstr>おわりに：温暖化抑制のために「今」必要なこと　</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商船三井グループ 環境ビジョン2.2</dc:title>
  <dc:creator>NAKAMURA NATSUHO</dc:creator>
  <cp:lastModifiedBy>TOMIDA, Rei</cp:lastModifiedBy>
  <cp:revision>14</cp:revision>
  <cp:lastPrinted>2023-09-25T00:05:15Z</cp:lastPrinted>
  <dcterms:created xsi:type="dcterms:W3CDTF">2023-01-27T12:12:43Z</dcterms:created>
  <dcterms:modified xsi:type="dcterms:W3CDTF">2024-02-15T11:0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01-27T00:00:00Z</vt:filetime>
  </property>
  <property fmtid="{D5CDD505-2E9C-101B-9397-08002B2CF9AE}" pid="3" name="Creator">
    <vt:lpwstr>Adobe Illustrator 27.2 (Macintosh)</vt:lpwstr>
  </property>
  <property fmtid="{D5CDD505-2E9C-101B-9397-08002B2CF9AE}" pid="4" name="CreatorVersion">
    <vt:lpwstr>21.0.0</vt:lpwstr>
  </property>
  <property fmtid="{D5CDD505-2E9C-101B-9397-08002B2CF9AE}" pid="5" name="LastSaved">
    <vt:filetime>2023-01-27T00:00:00Z</vt:filetime>
  </property>
  <property fmtid="{D5CDD505-2E9C-101B-9397-08002B2CF9AE}" pid="6" name="Producer">
    <vt:lpwstr>Adobe PDF library 17.00</vt:lpwstr>
  </property>
  <property fmtid="{D5CDD505-2E9C-101B-9397-08002B2CF9AE}" pid="7" name="ContentTypeId">
    <vt:lpwstr>0x010100BC65D33416AA464D92EEC7D15139ECAA</vt:lpwstr>
  </property>
  <property fmtid="{D5CDD505-2E9C-101B-9397-08002B2CF9AE}" pid="8" name="MediaServiceImageTags">
    <vt:lpwstr/>
  </property>
  <property fmtid="{D5CDD505-2E9C-101B-9397-08002B2CF9AE}" pid="9" name="Order">
    <vt:lpwstr>192700.000000000</vt:lpwstr>
  </property>
  <property fmtid="{D5CDD505-2E9C-101B-9397-08002B2CF9AE}" pid="10" name="ComplianceAssetId">
    <vt:lpwstr/>
  </property>
  <property fmtid="{D5CDD505-2E9C-101B-9397-08002B2CF9AE}" pid="11" name="TriggerFlowInfo">
    <vt:lpwstr/>
  </property>
  <property fmtid="{D5CDD505-2E9C-101B-9397-08002B2CF9AE}" pid="12" name="xd_ProgID">
    <vt:lpwstr/>
  </property>
  <property fmtid="{D5CDD505-2E9C-101B-9397-08002B2CF9AE}" pid="13" name="_ColorHex">
    <vt:lpwstr/>
  </property>
  <property fmtid="{D5CDD505-2E9C-101B-9397-08002B2CF9AE}" pid="14" name="TemplateUrl">
    <vt:lpwstr/>
  </property>
  <property fmtid="{D5CDD505-2E9C-101B-9397-08002B2CF9AE}" pid="15" name="_ColorTag">
    <vt:lpwstr/>
  </property>
  <property fmtid="{D5CDD505-2E9C-101B-9397-08002B2CF9AE}" pid="16" name="xd_Signature">
    <vt:lpwstr/>
  </property>
  <property fmtid="{D5CDD505-2E9C-101B-9397-08002B2CF9AE}" pid="17" name="_Emoji">
    <vt:lpwstr/>
  </property>
</Properties>
</file>